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6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7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8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9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0.xml" ContentType="application/vnd.openxmlformats-officedocument.theme+xml"/>
  <Override PartName="/ppt/slideLayouts/slideLayout82.xml" ContentType="application/vnd.openxmlformats-officedocument.presentationml.slideLayout+xml"/>
  <Override PartName="/ppt/theme/theme11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2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9" r:id="rId5"/>
    <p:sldMasterId id="2147483675" r:id="rId6"/>
    <p:sldMasterId id="2147483699" r:id="rId7"/>
    <p:sldMasterId id="2147483713" r:id="rId8"/>
    <p:sldMasterId id="2147483722" r:id="rId9"/>
    <p:sldMasterId id="2147483736" r:id="rId10"/>
    <p:sldMasterId id="2147483751" r:id="rId11"/>
    <p:sldMasterId id="2147483757" r:id="rId12"/>
    <p:sldMasterId id="2147483764" r:id="rId13"/>
    <p:sldMasterId id="2147483779" r:id="rId14"/>
    <p:sldMasterId id="2147483781" r:id="rId15"/>
    <p:sldMasterId id="2147483789" r:id="rId16"/>
  </p:sldMasterIdLst>
  <p:notesMasterIdLst>
    <p:notesMasterId r:id="rId19"/>
  </p:notesMasterIdLst>
  <p:sldIdLst>
    <p:sldId id="511" r:id="rId17"/>
    <p:sldId id="599" r:id="rId18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13C116E8-69C1-47AB-9F91-80F6AAEE0DA8}">
          <p14:sldIdLst>
            <p14:sldId id="511"/>
          </p14:sldIdLst>
        </p14:section>
        <p14:section name="Kenan" id="{404A0D92-21D5-4536-B5CB-0287D0D5C75D}">
          <p14:sldIdLst>
            <p14:sldId id="59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572" userDrawn="1">
          <p15:clr>
            <a:srgbClr val="A4A3A4"/>
          </p15:clr>
        </p15:guide>
        <p15:guide id="2" pos="325" userDrawn="1">
          <p15:clr>
            <a:srgbClr val="A4A3A4"/>
          </p15:clr>
        </p15:guide>
        <p15:guide id="3" pos="744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ulo Cesar Peixoto Sobrinho" initials="PCPS" lastIdx="1" clrIdx="0">
    <p:extLst>
      <p:ext uri="{19B8F6BF-5375-455C-9EA6-DF929625EA0E}">
        <p15:presenceInfo xmlns:p15="http://schemas.microsoft.com/office/powerpoint/2012/main" userId="S-1-5-21-170482392-1564347486-612134452-32767" providerId="AD"/>
      </p:ext>
    </p:extLst>
  </p:cmAuthor>
  <p:cmAuthor id="2" name="Edson Vieira" initials="EV" lastIdx="6" clrIdx="1">
    <p:extLst>
      <p:ext uri="{19B8F6BF-5375-455C-9EA6-DF929625EA0E}">
        <p15:presenceInfo xmlns:p15="http://schemas.microsoft.com/office/powerpoint/2012/main" userId="S-1-5-21-170482392-1564347486-612134452-95982" providerId="AD"/>
      </p:ext>
    </p:extLst>
  </p:cmAuthor>
  <p:cmAuthor id="3" name="Andressa Mangini" initials="AM" lastIdx="2" clrIdx="2">
    <p:extLst>
      <p:ext uri="{19B8F6BF-5375-455C-9EA6-DF929625EA0E}">
        <p15:presenceInfo xmlns:p15="http://schemas.microsoft.com/office/powerpoint/2012/main" userId="S-1-5-21-170482392-1564347486-612134452-14003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3C5E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Estilo Mé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44" autoAdjust="0"/>
    <p:restoredTop sz="94280" autoAdjust="0"/>
  </p:normalViewPr>
  <p:slideViewPr>
    <p:cSldViewPr snapToGrid="0">
      <p:cViewPr varScale="1">
        <p:scale>
          <a:sx n="69" d="100"/>
          <a:sy n="69" d="100"/>
        </p:scale>
        <p:origin x="774" y="66"/>
      </p:cViewPr>
      <p:guideLst>
        <p:guide orient="horz" pos="572"/>
        <p:guide pos="325"/>
        <p:guide pos="744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DB6460-105A-4DB5-A86B-73FCCBD8707A}" type="datetimeFigureOut">
              <a:rPr lang="pt-BR" smtClean="0"/>
              <a:t>27/10/2017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3717D2-6F0E-44CE-BD05-6400629CE81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slideMaster" Target="../slideMasters/slideMaster5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image" Target="../media/image11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8" Type="http://schemas.openxmlformats.org/officeDocument/2006/relationships/tags" Target="../tags/tag8.xml"/><Relationship Id="rId3" Type="http://schemas.openxmlformats.org/officeDocument/2006/relationships/tags" Target="../tags/tag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2.emf"/><Relationship Id="rId2" Type="http://schemas.openxmlformats.org/officeDocument/2006/relationships/tags" Target="../tags/tag39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4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5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5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5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5.pn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25520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VERDE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D:\PROYECTOS\PLANTILLAS\PLANTILLAS PPT\Propuesta plantillas referencia\paso a PPT\Recursos\ESCOLHEMOS TUDO\TUDO AZUL VERD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5684" y="5822952"/>
            <a:ext cx="2207683" cy="18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2 Rectángulo"/>
          <p:cNvSpPr/>
          <p:nvPr userDrawn="1"/>
        </p:nvSpPr>
        <p:spPr>
          <a:xfrm>
            <a:off x="334434" y="332318"/>
            <a:ext cx="11523133" cy="6167967"/>
          </a:xfrm>
          <a:prstGeom prst="rect">
            <a:avLst/>
          </a:prstGeom>
          <a:noFill/>
          <a:ln w="4445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s-ES" sz="3733">
              <a:solidFill>
                <a:srgbClr val="FFFFFF"/>
              </a:solidFill>
              <a:sym typeface="Gill Sans" charset="0"/>
            </a:endParaRPr>
          </a:p>
        </p:txBody>
      </p:sp>
      <p:pic>
        <p:nvPicPr>
          <p:cNvPr id="4" name="Picture 2" descr="D:\PROYECTOS\PLANTILLAS\PLANTILLAS PPT\Propuesta plantillas referencia\paso a PPT\Recursos\CUBO\desplegable-cubo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5384" y="4004733"/>
            <a:ext cx="1871133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asted-image.pdf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01" y="645585"/>
            <a:ext cx="4747684" cy="1043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427836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NARANJA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D:\PROYECTOS\PLANTILLAS\PLANTILLAS PPT\Propuesta plantillas referencia\paso a PPT\Recursos\ESCOLHEMOS TUDO\TUDO AZUL NARANJA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5684" y="5822952"/>
            <a:ext cx="2207683" cy="18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2 Rectángulo"/>
          <p:cNvSpPr/>
          <p:nvPr userDrawn="1"/>
        </p:nvSpPr>
        <p:spPr>
          <a:xfrm>
            <a:off x="334434" y="332318"/>
            <a:ext cx="11523133" cy="6167967"/>
          </a:xfrm>
          <a:prstGeom prst="rect">
            <a:avLst/>
          </a:prstGeom>
          <a:noFill/>
          <a:ln w="4445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s-ES" sz="3733">
              <a:solidFill>
                <a:srgbClr val="FFFFFF"/>
              </a:solidFill>
              <a:sym typeface="Gill Sans" charset="0"/>
            </a:endParaRPr>
          </a:p>
        </p:txBody>
      </p:sp>
      <p:pic>
        <p:nvPicPr>
          <p:cNvPr id="4" name="Picture 2" descr="D:\PROYECTOS\PLANTILLAS\PLANTILLAS PPT\Propuesta plantillas referencia\paso a PPT\Recursos\CUBO\desplegable-cubo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5384" y="4004733"/>
            <a:ext cx="1871133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asted-image.pdf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01" y="645585"/>
            <a:ext cx="4747684" cy="1043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71524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AZUL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D:\PROYECTOS\PLANTILLAS\PLANTILLAS PPT\Propuesta plantillas referencia\paso a PPT\Recursos\ESCOLHEMOS TUDO\TUDO AZUL AZUL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5684" y="5822952"/>
            <a:ext cx="2207683" cy="18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2 Rectángulo"/>
          <p:cNvSpPr/>
          <p:nvPr userDrawn="1"/>
        </p:nvSpPr>
        <p:spPr>
          <a:xfrm>
            <a:off x="334434" y="332318"/>
            <a:ext cx="11523133" cy="6167967"/>
          </a:xfrm>
          <a:prstGeom prst="rect">
            <a:avLst/>
          </a:prstGeom>
          <a:noFill/>
          <a:ln w="4445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s-ES" sz="3733">
              <a:solidFill>
                <a:srgbClr val="FFFFFF"/>
              </a:solidFill>
              <a:sym typeface="Gill Sans" charset="0"/>
            </a:endParaRPr>
          </a:p>
        </p:txBody>
      </p:sp>
      <p:pic>
        <p:nvPicPr>
          <p:cNvPr id="4" name="Picture 2" descr="D:\PROYECTOS\PLANTILLAS\PLANTILLAS PPT\Propuesta plantillas referencia\paso a PPT\Recursos\CUBO\desplegable-cubo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5384" y="4004733"/>
            <a:ext cx="1871133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asted-image.pdf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01" y="645585"/>
            <a:ext cx="4747684" cy="1043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55928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FUXIA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D:\PROYECTOS\PLANTILLAS\PLANTILLAS PPT\Propuesta plantillas referencia\paso a PPT\Recursos\ESCOLHEMOS TUDO\TUDO AZUL FUXIA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5684" y="5816601"/>
            <a:ext cx="2207683" cy="18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2 Rectángulo"/>
          <p:cNvSpPr/>
          <p:nvPr userDrawn="1"/>
        </p:nvSpPr>
        <p:spPr>
          <a:xfrm>
            <a:off x="334434" y="332318"/>
            <a:ext cx="11523133" cy="6167967"/>
          </a:xfrm>
          <a:prstGeom prst="rect">
            <a:avLst/>
          </a:prstGeom>
          <a:noFill/>
          <a:ln w="444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s-ES" sz="3733">
              <a:solidFill>
                <a:srgbClr val="FFFFFF"/>
              </a:solidFill>
              <a:sym typeface="Gill Sans" charset="0"/>
            </a:endParaRPr>
          </a:p>
        </p:txBody>
      </p:sp>
      <p:pic>
        <p:nvPicPr>
          <p:cNvPr id="4" name="Picture 2" descr="D:\PROYECTOS\PLANTILLAS\PLANTILLAS PPT\Propuesta plantillas referencia\paso a PPT\Recursos\CUBO\desplegable-cubo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5384" y="4004733"/>
            <a:ext cx="1871133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asted-image.pdf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01" y="740834"/>
            <a:ext cx="4747684" cy="10435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854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39943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Título más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2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Haga clic para modificar el estilo de título del patrón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0"/>
          </p:nvPr>
        </p:nvSpPr>
        <p:spPr>
          <a:xfrm>
            <a:off x="1391479" y="644690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7218092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ior -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2 Marcador de contenido"/>
          <p:cNvSpPr>
            <a:spLocks noGrp="1"/>
          </p:cNvSpPr>
          <p:nvPr>
            <p:ph sz="half" idx="11"/>
          </p:nvPr>
        </p:nvSpPr>
        <p:spPr>
          <a:xfrm>
            <a:off x="596819" y="1365387"/>
            <a:ext cx="10999373" cy="4525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2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Haga clic para modificar el estilo de título del patrón</a:t>
            </a:r>
          </a:p>
        </p:txBody>
      </p:sp>
      <p:sp>
        <p:nvSpPr>
          <p:cNvPr id="4" name="2 Marcador de texto"/>
          <p:cNvSpPr>
            <a:spLocks noGrp="1"/>
          </p:cNvSpPr>
          <p:nvPr>
            <p:ph type="body" idx="10"/>
          </p:nvPr>
        </p:nvSpPr>
        <p:spPr>
          <a:xfrm>
            <a:off x="1391479" y="644690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1885802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Niveles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2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Haga clic para modificar el estilo de título del patrón</a:t>
            </a:r>
          </a:p>
        </p:txBody>
      </p:sp>
      <p:sp>
        <p:nvSpPr>
          <p:cNvPr id="4" name="2 Marcador de texto"/>
          <p:cNvSpPr>
            <a:spLocks noGrp="1"/>
          </p:cNvSpPr>
          <p:nvPr>
            <p:ph type="body" idx="10"/>
          </p:nvPr>
        </p:nvSpPr>
        <p:spPr>
          <a:xfrm>
            <a:off x="1391479" y="644690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Haga clic para modificar el estilo de texto del patrón</a:t>
            </a:r>
          </a:p>
        </p:txBody>
      </p:sp>
      <p:sp>
        <p:nvSpPr>
          <p:cNvPr id="5" name="2 Marcador de contenido"/>
          <p:cNvSpPr>
            <a:spLocks noGrp="1"/>
          </p:cNvSpPr>
          <p:nvPr>
            <p:ph sz="half" idx="12"/>
          </p:nvPr>
        </p:nvSpPr>
        <p:spPr>
          <a:xfrm>
            <a:off x="596819" y="1383066"/>
            <a:ext cx="10842379" cy="4508284"/>
          </a:xfrm>
          <a:prstGeom prst="rect">
            <a:avLst/>
          </a:prstGeom>
        </p:spPr>
        <p:txBody>
          <a:bodyPr/>
          <a:lstStyle>
            <a:lvl1pPr marL="457189" indent="-457189"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66773" indent="-457189">
              <a:buClr>
                <a:schemeClr val="tx2"/>
              </a:buClr>
              <a:buFont typeface="Courier New" panose="02070309020205020404" pitchFamily="49" charset="0"/>
              <a:buChar char="o"/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76358" indent="-457189">
              <a:buClr>
                <a:schemeClr val="tx2"/>
              </a:buClr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13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</p:txBody>
      </p:sp>
    </p:spTree>
    <p:extLst>
      <p:ext uri="{BB962C8B-B14F-4D97-AF65-F5344CB8AC3E}">
        <p14:creationId xmlns:p14="http://schemas.microsoft.com/office/powerpoint/2010/main" val="28414742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Doble columna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2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Haga clic para modificar el estilo de título del patrón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1"/>
          </p:nvPr>
        </p:nvSpPr>
        <p:spPr>
          <a:xfrm>
            <a:off x="1391479" y="644690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Haga clic para modificar el estilo de texto del patrón</a:t>
            </a:r>
          </a:p>
        </p:txBody>
      </p:sp>
      <p:sp>
        <p:nvSpPr>
          <p:cNvPr id="6" name="2 Marcador de contenido"/>
          <p:cNvSpPr>
            <a:spLocks noGrp="1"/>
          </p:cNvSpPr>
          <p:nvPr>
            <p:ph sz="half" idx="13"/>
          </p:nvPr>
        </p:nvSpPr>
        <p:spPr>
          <a:xfrm>
            <a:off x="6233636" y="1600203"/>
            <a:ext cx="5397581" cy="4525963"/>
          </a:xfrm>
          <a:prstGeom prst="rect">
            <a:avLst/>
          </a:prstGeom>
        </p:spPr>
        <p:txBody>
          <a:bodyPr/>
          <a:lstStyle>
            <a:lvl1pPr marL="457189" indent="-457189"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66773" indent="-457189">
              <a:buClr>
                <a:schemeClr val="tx2"/>
              </a:buClr>
              <a:buFont typeface="Courier New" panose="02070309020205020404" pitchFamily="49" charset="0"/>
              <a:buChar char="o"/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76358" indent="-457189">
              <a:buClr>
                <a:schemeClr val="tx2"/>
              </a:buClr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13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</p:txBody>
      </p:sp>
      <p:sp>
        <p:nvSpPr>
          <p:cNvPr id="9" name="2 Marcador de contenido"/>
          <p:cNvSpPr>
            <a:spLocks noGrp="1"/>
          </p:cNvSpPr>
          <p:nvPr>
            <p:ph sz="half" idx="12"/>
          </p:nvPr>
        </p:nvSpPr>
        <p:spPr>
          <a:xfrm>
            <a:off x="596819" y="1600203"/>
            <a:ext cx="5397581" cy="4525963"/>
          </a:xfrm>
          <a:prstGeom prst="rect">
            <a:avLst/>
          </a:prstGeom>
        </p:spPr>
        <p:txBody>
          <a:bodyPr/>
          <a:lstStyle>
            <a:lvl1pPr marL="457189" indent="-457189"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66773" indent="-457189">
              <a:buClr>
                <a:schemeClr val="tx2"/>
              </a:buClr>
              <a:buFont typeface="Courier New" panose="02070309020205020404" pitchFamily="49" charset="0"/>
              <a:buChar char="o"/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76358" indent="-457189">
              <a:buClr>
                <a:schemeClr val="tx2"/>
              </a:buClr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13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</p:txBody>
      </p:sp>
    </p:spTree>
    <p:extLst>
      <p:ext uri="{BB962C8B-B14F-4D97-AF65-F5344CB8AC3E}">
        <p14:creationId xmlns:p14="http://schemas.microsoft.com/office/powerpoint/2010/main" val="41533443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Cuadro d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2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Haga clic para modificar el estilo de título del patrón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0"/>
          </p:nvPr>
        </p:nvSpPr>
        <p:spPr>
          <a:xfrm>
            <a:off x="1391479" y="644690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Haga clic para modificar el estilo de texto del patrón</a:t>
            </a:r>
          </a:p>
        </p:txBody>
      </p:sp>
      <p:sp>
        <p:nvSpPr>
          <p:cNvPr id="6" name="2 Marcador de contenido"/>
          <p:cNvSpPr>
            <a:spLocks noGrp="1"/>
          </p:cNvSpPr>
          <p:nvPr>
            <p:ph sz="half" idx="11"/>
          </p:nvPr>
        </p:nvSpPr>
        <p:spPr>
          <a:xfrm>
            <a:off x="609600" y="1600203"/>
            <a:ext cx="10999373" cy="4525963"/>
          </a:xfrm>
          <a:prstGeom prst="rect">
            <a:avLst/>
          </a:prstGeom>
        </p:spPr>
        <p:txBody>
          <a:bodyPr vert="vert"/>
          <a:lstStyle>
            <a:lvl1pPr marL="457189" indent="-457189"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66773" indent="-457189">
              <a:buClr>
                <a:schemeClr val="tx2"/>
              </a:buClr>
              <a:buFont typeface="Courier New" panose="02070309020205020404" pitchFamily="49" charset="0"/>
              <a:buChar char="o"/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76358" indent="-457189">
              <a:buClr>
                <a:schemeClr val="tx2"/>
              </a:buClr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13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</p:txBody>
      </p:sp>
    </p:spTree>
    <p:extLst>
      <p:ext uri="{BB962C8B-B14F-4D97-AF65-F5344CB8AC3E}">
        <p14:creationId xmlns:p14="http://schemas.microsoft.com/office/powerpoint/2010/main" val="12246281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Título más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2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0"/>
          </p:nvPr>
        </p:nvSpPr>
        <p:spPr>
          <a:xfrm>
            <a:off x="1391479" y="644690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6064634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49942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Título más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2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0"/>
          </p:nvPr>
        </p:nvSpPr>
        <p:spPr>
          <a:xfrm>
            <a:off x="1391479" y="644690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2546685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ior -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2 Marcador de contenido"/>
          <p:cNvSpPr>
            <a:spLocks noGrp="1"/>
          </p:cNvSpPr>
          <p:nvPr>
            <p:ph sz="half" idx="11"/>
          </p:nvPr>
        </p:nvSpPr>
        <p:spPr>
          <a:xfrm>
            <a:off x="596819" y="1365387"/>
            <a:ext cx="10999373" cy="4525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/>
          </a:p>
        </p:txBody>
      </p:sp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2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4" name="2 Marcador de texto"/>
          <p:cNvSpPr>
            <a:spLocks noGrp="1"/>
          </p:cNvSpPr>
          <p:nvPr>
            <p:ph type="body" idx="10"/>
          </p:nvPr>
        </p:nvSpPr>
        <p:spPr>
          <a:xfrm>
            <a:off x="1391479" y="644690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1677123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Niveles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>
            <a:spLocks noGrp="1"/>
          </p:cNvSpPr>
          <p:nvPr>
            <p:ph sz="half" idx="12"/>
          </p:nvPr>
        </p:nvSpPr>
        <p:spPr>
          <a:xfrm>
            <a:off x="596819" y="1383066"/>
            <a:ext cx="10842379" cy="4508284"/>
          </a:xfrm>
          <a:prstGeom prst="rect">
            <a:avLst/>
          </a:prstGeom>
        </p:spPr>
        <p:txBody>
          <a:bodyPr/>
          <a:lstStyle>
            <a:lvl1pPr marL="457189" indent="-457189"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66773" indent="-457189">
              <a:buClr>
                <a:schemeClr val="tx2"/>
              </a:buClr>
              <a:buFont typeface="Courier New" panose="02070309020205020404" pitchFamily="49" charset="0"/>
              <a:buChar char="o"/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76358" indent="-457189">
              <a:buClr>
                <a:schemeClr val="tx2"/>
              </a:buClr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13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/>
              <a:t>Clique para editar os estilos de texto </a:t>
            </a:r>
            <a:r>
              <a:rPr lang="es-ES" err="1"/>
              <a:t>mestres</a:t>
            </a:r>
            <a:endParaRPr lang="es-ES"/>
          </a:p>
          <a:p>
            <a:pPr lvl="1"/>
            <a:r>
              <a:rPr lang="es-ES"/>
              <a:t>Adicionar texto</a:t>
            </a:r>
          </a:p>
          <a:p>
            <a:pPr lvl="2"/>
            <a:r>
              <a:rPr lang="es-ES"/>
              <a:t>Adicionar texto</a:t>
            </a:r>
          </a:p>
          <a:p>
            <a:pPr lvl="3"/>
            <a:r>
              <a:rPr lang="es-ES"/>
              <a:t>Adicionar texto</a:t>
            </a:r>
          </a:p>
        </p:txBody>
      </p:sp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2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4" name="2 Marcador de texto"/>
          <p:cNvSpPr>
            <a:spLocks noGrp="1"/>
          </p:cNvSpPr>
          <p:nvPr>
            <p:ph type="body" idx="10"/>
          </p:nvPr>
        </p:nvSpPr>
        <p:spPr>
          <a:xfrm>
            <a:off x="1391479" y="644690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4561176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Doble columna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2 Marcador de contenido"/>
          <p:cNvSpPr>
            <a:spLocks noGrp="1"/>
          </p:cNvSpPr>
          <p:nvPr>
            <p:ph sz="half" idx="13"/>
          </p:nvPr>
        </p:nvSpPr>
        <p:spPr>
          <a:xfrm>
            <a:off x="6233636" y="1600203"/>
            <a:ext cx="5397581" cy="4525963"/>
          </a:xfrm>
          <a:prstGeom prst="rect">
            <a:avLst/>
          </a:prstGeom>
        </p:spPr>
        <p:txBody>
          <a:bodyPr/>
          <a:lstStyle>
            <a:lvl1pPr marL="457189" indent="-457189"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66773" indent="-457189">
              <a:buClr>
                <a:schemeClr val="tx2"/>
              </a:buClr>
              <a:buFont typeface="Courier New" panose="02070309020205020404" pitchFamily="49" charset="0"/>
              <a:buChar char="o"/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76358" indent="-457189">
              <a:buClr>
                <a:schemeClr val="tx2"/>
              </a:buClr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13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/>
              <a:t>Clique para editar os estilos de texto </a:t>
            </a:r>
            <a:r>
              <a:rPr lang="es-ES" err="1"/>
              <a:t>mestres</a:t>
            </a:r>
            <a:endParaRPr lang="es-ES"/>
          </a:p>
          <a:p>
            <a:pPr lvl="1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2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3"/>
            <a:r>
              <a:rPr lang="es-ES" err="1"/>
              <a:t>Adiconar</a:t>
            </a:r>
            <a:r>
              <a:rPr lang="es-ES"/>
              <a:t> texto</a:t>
            </a:r>
          </a:p>
        </p:txBody>
      </p:sp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2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1"/>
          </p:nvPr>
        </p:nvSpPr>
        <p:spPr>
          <a:xfrm>
            <a:off x="1391479" y="644690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  <p:sp>
        <p:nvSpPr>
          <p:cNvPr id="9" name="2 Marcador de contenido"/>
          <p:cNvSpPr>
            <a:spLocks noGrp="1"/>
          </p:cNvSpPr>
          <p:nvPr>
            <p:ph sz="half" idx="12"/>
          </p:nvPr>
        </p:nvSpPr>
        <p:spPr>
          <a:xfrm>
            <a:off x="596819" y="1600203"/>
            <a:ext cx="5397581" cy="4525963"/>
          </a:xfrm>
          <a:prstGeom prst="rect">
            <a:avLst/>
          </a:prstGeom>
        </p:spPr>
        <p:txBody>
          <a:bodyPr/>
          <a:lstStyle>
            <a:lvl1pPr marL="457189" indent="-457189"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66773" indent="-457189">
              <a:buClr>
                <a:schemeClr val="tx2"/>
              </a:buClr>
              <a:buFont typeface="Courier New" panose="02070309020205020404" pitchFamily="49" charset="0"/>
              <a:buChar char="o"/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76358" indent="-457189">
              <a:buClr>
                <a:schemeClr val="tx2"/>
              </a:buClr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13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/>
              <a:t>Clique para editar os estilos de texto </a:t>
            </a:r>
            <a:r>
              <a:rPr lang="es-ES" err="1"/>
              <a:t>mestres</a:t>
            </a:r>
            <a:endParaRPr lang="es-ES"/>
          </a:p>
          <a:p>
            <a:pPr lvl="1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2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3"/>
            <a:r>
              <a:rPr lang="es-ES" err="1"/>
              <a:t>Adiconar</a:t>
            </a:r>
            <a:r>
              <a:rPr lang="es-ES"/>
              <a:t> texto</a:t>
            </a:r>
          </a:p>
        </p:txBody>
      </p:sp>
    </p:spTree>
    <p:extLst>
      <p:ext uri="{BB962C8B-B14F-4D97-AF65-F5344CB8AC3E}">
        <p14:creationId xmlns:p14="http://schemas.microsoft.com/office/powerpoint/2010/main" val="5279717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Cuadro d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2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0"/>
          </p:nvPr>
        </p:nvSpPr>
        <p:spPr>
          <a:xfrm>
            <a:off x="1391479" y="644690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  <p:sp>
        <p:nvSpPr>
          <p:cNvPr id="7" name="2 Marcador de contenido"/>
          <p:cNvSpPr>
            <a:spLocks noGrp="1"/>
          </p:cNvSpPr>
          <p:nvPr>
            <p:ph sz="half" idx="11"/>
          </p:nvPr>
        </p:nvSpPr>
        <p:spPr>
          <a:xfrm>
            <a:off x="609600" y="1600203"/>
            <a:ext cx="10999373" cy="4525963"/>
          </a:xfrm>
          <a:prstGeom prst="rect">
            <a:avLst/>
          </a:prstGeom>
        </p:spPr>
        <p:txBody>
          <a:bodyPr vert="vert"/>
          <a:lstStyle>
            <a:lvl1pPr marL="457189" indent="-457189"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66773" indent="-457189">
              <a:buClr>
                <a:schemeClr val="tx2"/>
              </a:buClr>
              <a:buFont typeface="Courier New" panose="02070309020205020404" pitchFamily="49" charset="0"/>
              <a:buChar char="o"/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76358" indent="-457189">
              <a:buClr>
                <a:schemeClr val="tx2"/>
              </a:buClr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13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/>
              <a:t>Clique para editar os estilos de texto </a:t>
            </a:r>
            <a:r>
              <a:rPr lang="es-ES" err="1"/>
              <a:t>mestres</a:t>
            </a:r>
            <a:endParaRPr lang="es-ES"/>
          </a:p>
          <a:p>
            <a:pPr lvl="1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2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3"/>
            <a:r>
              <a:rPr lang="es-ES" err="1"/>
              <a:t>Adiconar</a:t>
            </a:r>
            <a:r>
              <a:rPr lang="es-ES"/>
              <a:t> texto</a:t>
            </a:r>
          </a:p>
        </p:txBody>
      </p:sp>
    </p:spTree>
    <p:extLst>
      <p:ext uri="{BB962C8B-B14F-4D97-AF65-F5344CB8AC3E}">
        <p14:creationId xmlns:p14="http://schemas.microsoft.com/office/powerpoint/2010/main" val="4029162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 naranja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Elipse"/>
          <p:cNvSpPr/>
          <p:nvPr userDrawn="1"/>
        </p:nvSpPr>
        <p:spPr>
          <a:xfrm rot="16200000">
            <a:off x="4895851" y="2995085"/>
            <a:ext cx="865716" cy="86571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es-ES" sz="3733">
              <a:solidFill>
                <a:srgbClr val="FFFFFF"/>
              </a:solidFill>
              <a:sym typeface="Gill Sans" charset="0"/>
            </a:endParaRPr>
          </a:p>
        </p:txBody>
      </p:sp>
      <p:grpSp>
        <p:nvGrpSpPr>
          <p:cNvPr id="3" name="66 Grupo"/>
          <p:cNvGrpSpPr>
            <a:grpSpLocks/>
          </p:cNvGrpSpPr>
          <p:nvPr userDrawn="1"/>
        </p:nvGrpSpPr>
        <p:grpSpPr bwMode="auto">
          <a:xfrm rot="-5400000">
            <a:off x="5090584" y="3285067"/>
            <a:ext cx="575733" cy="287867"/>
            <a:chOff x="971600" y="4149080"/>
            <a:chExt cx="1440160" cy="720080"/>
          </a:xfrm>
        </p:grpSpPr>
        <p:sp>
          <p:nvSpPr>
            <p:cNvPr id="4" name="24 Triángulo isósceles"/>
            <p:cNvSpPr/>
            <p:nvPr/>
          </p:nvSpPr>
          <p:spPr>
            <a:xfrm rot="10800000" flipV="1">
              <a:off x="971600" y="4127901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sz="3733">
                <a:solidFill>
                  <a:srgbClr val="008597"/>
                </a:solidFill>
                <a:sym typeface="Gill Sans" charset="0"/>
              </a:endParaRPr>
            </a:p>
          </p:txBody>
        </p:sp>
        <p:sp>
          <p:nvSpPr>
            <p:cNvPr id="5" name="24 Triángulo isósceles"/>
            <p:cNvSpPr/>
            <p:nvPr/>
          </p:nvSpPr>
          <p:spPr>
            <a:xfrm rot="10800000">
              <a:off x="1712859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sz="3733">
                <a:solidFill>
                  <a:srgbClr val="008597"/>
                </a:solidFill>
                <a:sym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8260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 azul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Elipse"/>
          <p:cNvSpPr/>
          <p:nvPr userDrawn="1"/>
        </p:nvSpPr>
        <p:spPr>
          <a:xfrm rot="16200000">
            <a:off x="4895851" y="2995085"/>
            <a:ext cx="865716" cy="86571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es-ES" sz="3733">
              <a:solidFill>
                <a:srgbClr val="FFFFFF"/>
              </a:solidFill>
              <a:sym typeface="Gill Sans" charset="0"/>
            </a:endParaRPr>
          </a:p>
        </p:txBody>
      </p:sp>
      <p:grpSp>
        <p:nvGrpSpPr>
          <p:cNvPr id="3" name="66 Grupo"/>
          <p:cNvGrpSpPr>
            <a:grpSpLocks/>
          </p:cNvGrpSpPr>
          <p:nvPr userDrawn="1"/>
        </p:nvGrpSpPr>
        <p:grpSpPr bwMode="auto">
          <a:xfrm rot="-5400000">
            <a:off x="5090584" y="3285067"/>
            <a:ext cx="575733" cy="287867"/>
            <a:chOff x="971600" y="4149080"/>
            <a:chExt cx="1440160" cy="720080"/>
          </a:xfrm>
        </p:grpSpPr>
        <p:sp>
          <p:nvSpPr>
            <p:cNvPr id="4" name="24 Triángulo isósceles"/>
            <p:cNvSpPr/>
            <p:nvPr/>
          </p:nvSpPr>
          <p:spPr>
            <a:xfrm rot="10800000" flipV="1">
              <a:off x="971600" y="4127901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sz="3733">
                <a:solidFill>
                  <a:srgbClr val="008597"/>
                </a:solidFill>
                <a:sym typeface="Gill Sans" charset="0"/>
              </a:endParaRPr>
            </a:p>
          </p:txBody>
        </p:sp>
        <p:sp>
          <p:nvSpPr>
            <p:cNvPr id="5" name="24 Triángulo isósceles"/>
            <p:cNvSpPr/>
            <p:nvPr/>
          </p:nvSpPr>
          <p:spPr>
            <a:xfrm rot="10800000">
              <a:off x="1712859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sz="3733">
                <a:solidFill>
                  <a:srgbClr val="008597"/>
                </a:solidFill>
                <a:sym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09046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35874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ior - 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29876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ior -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2 Marcador de contenido"/>
          <p:cNvSpPr>
            <a:spLocks noGrp="1"/>
          </p:cNvSpPr>
          <p:nvPr>
            <p:ph sz="half" idx="11"/>
          </p:nvPr>
        </p:nvSpPr>
        <p:spPr>
          <a:xfrm>
            <a:off x="596819" y="1365387"/>
            <a:ext cx="10999373" cy="4525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/>
          </a:p>
        </p:txBody>
      </p:sp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2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4" name="2 Marcador de texto"/>
          <p:cNvSpPr>
            <a:spLocks noGrp="1"/>
          </p:cNvSpPr>
          <p:nvPr>
            <p:ph type="body" idx="10"/>
          </p:nvPr>
        </p:nvSpPr>
        <p:spPr>
          <a:xfrm>
            <a:off x="1391479" y="644690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132805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1760629" cy="648072"/>
          </a:xfrm>
          <a:prstGeom prst="rect">
            <a:avLst/>
          </a:prstGeom>
          <a:ln>
            <a:noFill/>
          </a:ln>
        </p:spPr>
        <p:txBody>
          <a:bodyPr lIns="91434" tIns="45717" rIns="91434" bIns="45717"/>
          <a:lstStyle>
            <a:lvl1pPr algn="l">
              <a:defRPr sz="3733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</a:t>
            </a:r>
            <a:r>
              <a:rPr lang="es-ES" altLang="es-ES" err="1"/>
              <a:t>mestre</a:t>
            </a:r>
            <a:endParaRPr lang="es-ES" altLang="es-ES"/>
          </a:p>
        </p:txBody>
      </p:sp>
    </p:spTree>
    <p:extLst>
      <p:ext uri="{BB962C8B-B14F-4D97-AF65-F5344CB8AC3E}">
        <p14:creationId xmlns:p14="http://schemas.microsoft.com/office/powerpoint/2010/main" val="34309748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Sumár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1760629" cy="648072"/>
          </a:xfrm>
          <a:prstGeom prst="rect">
            <a:avLst/>
          </a:prstGeom>
          <a:ln>
            <a:noFill/>
          </a:ln>
        </p:spPr>
        <p:txBody>
          <a:bodyPr lIns="91434" tIns="45717" rIns="91434" bIns="45717"/>
          <a:lstStyle>
            <a:lvl1pPr algn="l">
              <a:defRPr sz="42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pt-BR" altLang="es-ES" noProof="0"/>
              <a:t>Clique para editar estilo do título mestre</a:t>
            </a:r>
          </a:p>
        </p:txBody>
      </p:sp>
      <p:cxnSp>
        <p:nvCxnSpPr>
          <p:cNvPr id="3" name="Conector reto 2"/>
          <p:cNvCxnSpPr/>
          <p:nvPr userDrawn="1">
            <p:custDataLst>
              <p:tags r:id="rId1"/>
            </p:custDataLst>
          </p:nvPr>
        </p:nvCxnSpPr>
        <p:spPr>
          <a:xfrm flipH="1">
            <a:off x="3895485" y="1004822"/>
            <a:ext cx="1913" cy="392001"/>
          </a:xfrm>
          <a:prstGeom prst="line">
            <a:avLst/>
          </a:prstGeom>
          <a:noFill/>
          <a:ln w="15875" cap="flat" cmpd="sng" algn="ctr">
            <a:solidFill>
              <a:srgbClr val="4F81BD"/>
            </a:solidFill>
            <a:prstDash val="solid"/>
            <a:headEnd type="none"/>
            <a:tailEnd type="none"/>
          </a:ln>
          <a:effectLst>
            <a:outerShdw blurRad="63500">
              <a:scrgbClr r="0" g="0" b="0">
                <a:alpha val="50000"/>
              </a:scrgbClr>
            </a:outerShdw>
          </a:effectLst>
        </p:spPr>
      </p:cxnSp>
      <p:cxnSp>
        <p:nvCxnSpPr>
          <p:cNvPr id="5" name="Conector reto 4"/>
          <p:cNvCxnSpPr/>
          <p:nvPr userDrawn="1">
            <p:custDataLst>
              <p:tags r:id="rId2"/>
            </p:custDataLst>
          </p:nvPr>
        </p:nvCxnSpPr>
        <p:spPr>
          <a:xfrm flipH="1">
            <a:off x="3748087" y="717165"/>
            <a:ext cx="0" cy="672000"/>
          </a:xfrm>
          <a:prstGeom prst="line">
            <a:avLst/>
          </a:prstGeom>
          <a:noFill/>
          <a:ln w="15875" cap="flat" cmpd="sng" algn="ctr">
            <a:solidFill>
              <a:srgbClr val="4F81BD"/>
            </a:solidFill>
            <a:prstDash val="solid"/>
            <a:headEnd type="none"/>
            <a:tailEnd type="none"/>
          </a:ln>
          <a:effectLst>
            <a:outerShdw blurRad="63500">
              <a:scrgbClr r="0" g="0" b="0">
                <a:alpha val="50000"/>
              </a:scrgbClr>
            </a:outerShdw>
          </a:effectLst>
        </p:spPr>
      </p:cxnSp>
      <p:grpSp>
        <p:nvGrpSpPr>
          <p:cNvPr id="6" name="Grupo 5"/>
          <p:cNvGrpSpPr/>
          <p:nvPr userDrawn="1"/>
        </p:nvGrpSpPr>
        <p:grpSpPr>
          <a:xfrm>
            <a:off x="192619" y="1396822"/>
            <a:ext cx="11875676" cy="374651"/>
            <a:chOff x="144463" y="1047615"/>
            <a:chExt cx="8906757" cy="280988"/>
          </a:xfrm>
        </p:grpSpPr>
        <p:sp>
          <p:nvSpPr>
            <p:cNvPr id="7" name="Retângulo 6"/>
            <p:cNvSpPr/>
            <p:nvPr>
              <p:custDataLst>
                <p:tags r:id="rId13"/>
              </p:custDataLst>
            </p:nvPr>
          </p:nvSpPr>
          <p:spPr>
            <a:xfrm>
              <a:off x="144463" y="1047615"/>
              <a:ext cx="8906757" cy="280988"/>
            </a:xfrm>
            <a:prstGeom prst="rect">
              <a:avLst/>
            </a:prstGeom>
            <a:solidFill>
              <a:srgbClr val="006476"/>
            </a:solidFill>
            <a:ln/>
            <a:extLst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lIns="68078" tIns="34289" rIns="68078" bIns="34289" anchor="ctr"/>
            <a:lstStyle/>
            <a:p>
              <a:pPr algn="ctr" defTabSz="90660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pt-BR" sz="1067" kern="0">
                <a:solidFill>
                  <a:prstClr val="white"/>
                </a:solidFill>
                <a:latin typeface="Trebuchet MS" pitchFamily="34" charset="0"/>
                <a:sym typeface="Gill Sans" charset="0"/>
              </a:endParaRPr>
            </a:p>
          </p:txBody>
        </p:sp>
        <p:sp>
          <p:nvSpPr>
            <p:cNvPr id="8" name="CaixaDeTexto 279"/>
            <p:cNvSpPr txBox="1"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62033" y="1098187"/>
              <a:ext cx="5397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4498" tIns="0" rIns="94498" bIns="0" anchor="ctr">
              <a:spAutoFit/>
            </a:bodyPr>
            <a:lstStyle>
              <a:lvl1pPr defTabSz="679450">
                <a:defRPr sz="28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sym typeface="Gill Sans" charset="0"/>
                </a:defRPr>
              </a:lvl1pPr>
              <a:lvl2pPr marL="742950" indent="-285750" defTabSz="679450">
                <a:defRPr sz="28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sym typeface="Gill Sans" charset="0"/>
                </a:defRPr>
              </a:lvl2pPr>
              <a:lvl3pPr marL="1143000" indent="-228600" defTabSz="679450">
                <a:defRPr sz="28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sym typeface="Gill Sans" charset="0"/>
                </a:defRPr>
              </a:lvl3pPr>
              <a:lvl4pPr marL="1600200" indent="-228600" defTabSz="679450">
                <a:defRPr sz="28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sym typeface="Gill Sans" charset="0"/>
                </a:defRPr>
              </a:lvl4pPr>
              <a:lvl5pPr marL="2057400" indent="-228600" defTabSz="679450">
                <a:defRPr sz="28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sym typeface="Gill Sans" charset="0"/>
                </a:defRPr>
              </a:lvl5pPr>
              <a:lvl6pPr marL="25146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sym typeface="Gill Sans" charset="0"/>
                </a:defRPr>
              </a:lvl6pPr>
              <a:lvl7pPr marL="29718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sym typeface="Gill Sans" charset="0"/>
                </a:defRPr>
              </a:lvl7pPr>
              <a:lvl8pPr marL="34290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sym typeface="Gill Sans" charset="0"/>
                </a:defRPr>
              </a:lvl8pPr>
              <a:lvl9pPr marL="38862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sym typeface="Gill Sans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pt-BR" sz="1600" b="1">
                  <a:solidFill>
                    <a:srgbClr val="D16309"/>
                  </a:solidFill>
                  <a:latin typeface="Calibri" panose="020F0502020204030204" pitchFamily="34" charset="0"/>
                  <a:ea typeface="MS PGothic" pitchFamily="34" charset="-128"/>
                </a:rPr>
                <a:t>2016</a:t>
              </a:r>
              <a:endParaRPr lang="pt-BR" altLang="pt-BR" sz="1467" b="1">
                <a:solidFill>
                  <a:srgbClr val="D16309"/>
                </a:solidFill>
                <a:latin typeface="Calibri" panose="020F0502020204030204" pitchFamily="34" charset="0"/>
                <a:ea typeface="MS PGothic" pitchFamily="34" charset="-128"/>
              </a:endParaRPr>
            </a:p>
          </p:txBody>
        </p:sp>
        <p:sp>
          <p:nvSpPr>
            <p:cNvPr id="9" name="CaixaDeTexto 301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8508138" y="1098187"/>
              <a:ext cx="5397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4498" tIns="0" rIns="94498" bIns="0" anchor="ctr">
              <a:spAutoFit/>
            </a:bodyPr>
            <a:lstStyle>
              <a:lvl1pPr defTabSz="679450">
                <a:defRPr sz="28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sym typeface="Gill Sans" charset="0"/>
                </a:defRPr>
              </a:lvl1pPr>
              <a:lvl2pPr marL="742950" indent="-285750" defTabSz="679450">
                <a:defRPr sz="28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sym typeface="Gill Sans" charset="0"/>
                </a:defRPr>
              </a:lvl2pPr>
              <a:lvl3pPr marL="1143000" indent="-228600" defTabSz="679450">
                <a:defRPr sz="28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sym typeface="Gill Sans" charset="0"/>
                </a:defRPr>
              </a:lvl3pPr>
              <a:lvl4pPr marL="1600200" indent="-228600" defTabSz="679450">
                <a:defRPr sz="28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sym typeface="Gill Sans" charset="0"/>
                </a:defRPr>
              </a:lvl4pPr>
              <a:lvl5pPr marL="2057400" indent="-228600" defTabSz="679450">
                <a:defRPr sz="28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sym typeface="Gill Sans" charset="0"/>
                </a:defRPr>
              </a:lvl5pPr>
              <a:lvl6pPr marL="25146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sym typeface="Gill Sans" charset="0"/>
                </a:defRPr>
              </a:lvl6pPr>
              <a:lvl7pPr marL="29718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sym typeface="Gill Sans" charset="0"/>
                </a:defRPr>
              </a:lvl7pPr>
              <a:lvl8pPr marL="34290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sym typeface="Gill Sans" charset="0"/>
                </a:defRPr>
              </a:lvl8pPr>
              <a:lvl9pPr marL="3886200" indent="-228600" defTabSz="67945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sym typeface="Gill Sans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pt-BR" sz="1600" b="1">
                  <a:solidFill>
                    <a:srgbClr val="D16309"/>
                  </a:solidFill>
                  <a:latin typeface="Calibri" pitchFamily="34" charset="0"/>
                  <a:ea typeface="MS PGothic" pitchFamily="34" charset="-128"/>
                </a:rPr>
                <a:t>2016</a:t>
              </a:r>
              <a:endParaRPr lang="pt-BR" altLang="pt-BR" sz="1467" b="1">
                <a:solidFill>
                  <a:srgbClr val="D16309"/>
                </a:solidFill>
                <a:latin typeface="Calibri" pitchFamily="34" charset="0"/>
                <a:ea typeface="MS PGothic" pitchFamily="34" charset="-128"/>
              </a:endParaRPr>
            </a:p>
          </p:txBody>
        </p:sp>
        <p:cxnSp>
          <p:nvCxnSpPr>
            <p:cNvPr id="10" name="OTLSHAPE_TB_00000000000000000000000000000000_Separator2"/>
            <p:cNvCxnSpPr/>
            <p:nvPr>
              <p:custDataLst>
                <p:tags r:id="rId16"/>
              </p:custDataLst>
            </p:nvPr>
          </p:nvCxnSpPr>
          <p:spPr>
            <a:xfrm>
              <a:off x="1443002" y="1061902"/>
              <a:ext cx="0" cy="252000"/>
            </a:xfrm>
            <a:prstGeom prst="line">
              <a:avLst/>
            </a:prstGeom>
            <a:ln w="9525" cap="flat" cmpd="sng" algn="ctr">
              <a:solidFill>
                <a:schemeClr val="lt1">
                  <a:alpha val="29804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OTLSHAPE_TB_00000000000000000000000000000000_Separator1"/>
            <p:cNvCxnSpPr/>
            <p:nvPr>
              <p:custDataLst>
                <p:tags r:id="rId17"/>
              </p:custDataLst>
            </p:nvPr>
          </p:nvCxnSpPr>
          <p:spPr>
            <a:xfrm>
              <a:off x="731946" y="1061902"/>
              <a:ext cx="0" cy="252000"/>
            </a:xfrm>
            <a:prstGeom prst="line">
              <a:avLst/>
            </a:prstGeom>
            <a:ln w="9525" cap="flat" cmpd="sng" algn="ctr">
              <a:solidFill>
                <a:schemeClr val="lt1">
                  <a:alpha val="29804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TLSHAPE_TB_00000000000000000000000000000000_TimescaleInterval2"/>
            <p:cNvSpPr txBox="1"/>
            <p:nvPr>
              <p:custDataLst>
                <p:tags r:id="rId18"/>
              </p:custDataLst>
            </p:nvPr>
          </p:nvSpPr>
          <p:spPr>
            <a:xfrm>
              <a:off x="828709" y="1055580"/>
              <a:ext cx="540000" cy="269875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/>
            <a:lstStyle/>
            <a:p>
              <a:pPr defTabSz="90660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200" spc="-27">
                  <a:solidFill>
                    <a:prstClr val="white"/>
                  </a:solidFill>
                  <a:latin typeface="Calibri" panose="020F0502020204030204" pitchFamily="34" charset="0"/>
                  <a:ea typeface="ヒラギノ角ゴ ProN W3" charset="-128"/>
                  <a:sym typeface="Gill Sans" charset="0"/>
                </a:rPr>
                <a:t>Sem 29/01</a:t>
              </a:r>
            </a:p>
          </p:txBody>
        </p:sp>
        <p:cxnSp>
          <p:nvCxnSpPr>
            <p:cNvPr id="13" name="OTLSHAPE_TB_00000000000000000000000000000000_Separator2"/>
            <p:cNvCxnSpPr/>
            <p:nvPr>
              <p:custDataLst>
                <p:tags r:id="rId19"/>
              </p:custDataLst>
            </p:nvPr>
          </p:nvCxnSpPr>
          <p:spPr>
            <a:xfrm>
              <a:off x="2154058" y="1061902"/>
              <a:ext cx="0" cy="252000"/>
            </a:xfrm>
            <a:prstGeom prst="line">
              <a:avLst/>
            </a:prstGeom>
            <a:ln w="9525" cap="flat" cmpd="sng" algn="ctr">
              <a:solidFill>
                <a:schemeClr val="lt1">
                  <a:alpha val="29804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OTLSHAPE_TB_00000000000000000000000000000000_TimescaleInterval2"/>
            <p:cNvSpPr txBox="1"/>
            <p:nvPr>
              <p:custDataLst>
                <p:tags r:id="rId20"/>
              </p:custDataLst>
            </p:nvPr>
          </p:nvSpPr>
          <p:spPr>
            <a:xfrm>
              <a:off x="1539594" y="1055580"/>
              <a:ext cx="540000" cy="269875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/>
            <a:lstStyle/>
            <a:p>
              <a:pPr defTabSz="90660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200" spc="-27">
                  <a:solidFill>
                    <a:prstClr val="white"/>
                  </a:solidFill>
                  <a:latin typeface="Calibri" panose="020F0502020204030204" pitchFamily="34" charset="0"/>
                  <a:ea typeface="ヒラギノ角ゴ ProN W3" charset="-128"/>
                  <a:sym typeface="Gill Sans" charset="0"/>
                </a:rPr>
                <a:t>Sem 05/02</a:t>
              </a:r>
            </a:p>
          </p:txBody>
        </p:sp>
        <p:sp>
          <p:nvSpPr>
            <p:cNvPr id="15" name="OTLSHAPE_TB_00000000000000000000000000000000_TimescaleInterval2"/>
            <p:cNvSpPr txBox="1"/>
            <p:nvPr>
              <p:custDataLst>
                <p:tags r:id="rId21"/>
              </p:custDataLst>
            </p:nvPr>
          </p:nvSpPr>
          <p:spPr>
            <a:xfrm>
              <a:off x="2250479" y="1055580"/>
              <a:ext cx="540000" cy="269875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/>
            <a:lstStyle/>
            <a:p>
              <a:pPr defTabSz="90660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200" spc="-27">
                  <a:solidFill>
                    <a:prstClr val="white"/>
                  </a:solidFill>
                  <a:latin typeface="Calibri" panose="020F0502020204030204" pitchFamily="34" charset="0"/>
                  <a:ea typeface="ヒラギノ角ゴ ProN W3" charset="-128"/>
                  <a:sym typeface="Gill Sans" charset="0"/>
                </a:rPr>
                <a:t>Sem 12/02</a:t>
              </a:r>
            </a:p>
          </p:txBody>
        </p:sp>
        <p:cxnSp>
          <p:nvCxnSpPr>
            <p:cNvPr id="16" name="OTLSHAPE_TB_00000000000000000000000000000000_Separator2"/>
            <p:cNvCxnSpPr/>
            <p:nvPr>
              <p:custDataLst>
                <p:tags r:id="rId22"/>
              </p:custDataLst>
            </p:nvPr>
          </p:nvCxnSpPr>
          <p:spPr>
            <a:xfrm>
              <a:off x="2865114" y="1061902"/>
              <a:ext cx="0" cy="252000"/>
            </a:xfrm>
            <a:prstGeom prst="line">
              <a:avLst/>
            </a:prstGeom>
            <a:ln w="9525" cap="flat" cmpd="sng" algn="ctr">
              <a:solidFill>
                <a:schemeClr val="lt1">
                  <a:alpha val="29804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TLSHAPE_TB_00000000000000000000000000000000_TimescaleInterval2"/>
            <p:cNvSpPr txBox="1"/>
            <p:nvPr>
              <p:custDataLst>
                <p:tags r:id="rId23"/>
              </p:custDataLst>
            </p:nvPr>
          </p:nvSpPr>
          <p:spPr>
            <a:xfrm>
              <a:off x="2961364" y="1055580"/>
              <a:ext cx="540000" cy="269875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/>
            <a:lstStyle/>
            <a:p>
              <a:pPr defTabSz="90660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200" spc="-27">
                  <a:solidFill>
                    <a:prstClr val="white"/>
                  </a:solidFill>
                  <a:latin typeface="Calibri" panose="020F0502020204030204" pitchFamily="34" charset="0"/>
                  <a:ea typeface="ヒラギノ角ゴ ProN W3" charset="-128"/>
                  <a:sym typeface="Gill Sans" charset="0"/>
                </a:rPr>
                <a:t>Sem 19/02</a:t>
              </a:r>
            </a:p>
          </p:txBody>
        </p:sp>
        <p:sp>
          <p:nvSpPr>
            <p:cNvPr id="18" name="OTLSHAPE_TB_00000000000000000000000000000000_TimescaleInterval2"/>
            <p:cNvSpPr txBox="1"/>
            <p:nvPr>
              <p:custDataLst>
                <p:tags r:id="rId24"/>
              </p:custDataLst>
            </p:nvPr>
          </p:nvSpPr>
          <p:spPr>
            <a:xfrm>
              <a:off x="3672249" y="1055580"/>
              <a:ext cx="540000" cy="269875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/>
            <a:lstStyle/>
            <a:p>
              <a:pPr defTabSz="90660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200" spc="-27">
                  <a:solidFill>
                    <a:prstClr val="white"/>
                  </a:solidFill>
                  <a:latin typeface="Calibri" panose="020F0502020204030204" pitchFamily="34" charset="0"/>
                  <a:ea typeface="ヒラギノ角ゴ ProN W3" charset="-128"/>
                  <a:sym typeface="Gill Sans" charset="0"/>
                </a:rPr>
                <a:t>Sem 26/02</a:t>
              </a:r>
            </a:p>
          </p:txBody>
        </p:sp>
        <p:sp>
          <p:nvSpPr>
            <p:cNvPr id="19" name="OTLSHAPE_TB_00000000000000000000000000000000_TimescaleInterval2"/>
            <p:cNvSpPr txBox="1"/>
            <p:nvPr>
              <p:custDataLst>
                <p:tags r:id="rId25"/>
              </p:custDataLst>
            </p:nvPr>
          </p:nvSpPr>
          <p:spPr>
            <a:xfrm>
              <a:off x="4383134" y="1055580"/>
              <a:ext cx="540000" cy="269875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/>
            <a:lstStyle/>
            <a:p>
              <a:pPr defTabSz="90660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200" spc="-27">
                  <a:solidFill>
                    <a:prstClr val="white"/>
                  </a:solidFill>
                  <a:latin typeface="Calibri" panose="020F0502020204030204" pitchFamily="34" charset="0"/>
                  <a:ea typeface="ヒラギノ角ゴ ProN W3" charset="-128"/>
                  <a:sym typeface="Gill Sans" charset="0"/>
                </a:rPr>
                <a:t>Sem 04/03</a:t>
              </a:r>
            </a:p>
          </p:txBody>
        </p:sp>
        <p:cxnSp>
          <p:nvCxnSpPr>
            <p:cNvPr id="20" name="OTLSHAPE_TB_00000000000000000000000000000000_Separator2"/>
            <p:cNvCxnSpPr/>
            <p:nvPr>
              <p:custDataLst>
                <p:tags r:id="rId26"/>
              </p:custDataLst>
            </p:nvPr>
          </p:nvCxnSpPr>
          <p:spPr>
            <a:xfrm>
              <a:off x="3576170" y="1061902"/>
              <a:ext cx="0" cy="252000"/>
            </a:xfrm>
            <a:prstGeom prst="line">
              <a:avLst/>
            </a:prstGeom>
            <a:ln w="9525" cap="flat" cmpd="sng" algn="ctr">
              <a:solidFill>
                <a:schemeClr val="lt1">
                  <a:alpha val="29804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OTLSHAPE_TB_00000000000000000000000000000000_Separator2"/>
            <p:cNvCxnSpPr/>
            <p:nvPr>
              <p:custDataLst>
                <p:tags r:id="rId27"/>
              </p:custDataLst>
            </p:nvPr>
          </p:nvCxnSpPr>
          <p:spPr>
            <a:xfrm>
              <a:off x="4287226" y="1061902"/>
              <a:ext cx="0" cy="252000"/>
            </a:xfrm>
            <a:prstGeom prst="line">
              <a:avLst/>
            </a:prstGeom>
            <a:ln w="9525" cap="flat" cmpd="sng" algn="ctr">
              <a:solidFill>
                <a:schemeClr val="lt1">
                  <a:alpha val="29804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OTLSHAPE_TB_00000000000000000000000000000000_Separator2"/>
            <p:cNvCxnSpPr/>
            <p:nvPr>
              <p:custDataLst>
                <p:tags r:id="rId28"/>
              </p:custDataLst>
            </p:nvPr>
          </p:nvCxnSpPr>
          <p:spPr>
            <a:xfrm>
              <a:off x="4998282" y="1061902"/>
              <a:ext cx="0" cy="252000"/>
            </a:xfrm>
            <a:prstGeom prst="line">
              <a:avLst/>
            </a:prstGeom>
            <a:ln w="9525" cap="flat" cmpd="sng" algn="ctr">
              <a:solidFill>
                <a:schemeClr val="lt1">
                  <a:alpha val="29804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OTLSHAPE_TB_00000000000000000000000000000000_TimescaleInterval2"/>
            <p:cNvSpPr txBox="1"/>
            <p:nvPr>
              <p:custDataLst>
                <p:tags r:id="rId29"/>
              </p:custDataLst>
            </p:nvPr>
          </p:nvSpPr>
          <p:spPr>
            <a:xfrm>
              <a:off x="5094019" y="1055580"/>
              <a:ext cx="540000" cy="269875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/>
            <a:lstStyle/>
            <a:p>
              <a:pPr defTabSz="90660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200" spc="-27">
                  <a:solidFill>
                    <a:prstClr val="white"/>
                  </a:solidFill>
                  <a:latin typeface="Calibri" panose="020F0502020204030204" pitchFamily="34" charset="0"/>
                  <a:ea typeface="ヒラギノ角ゴ ProN W3" charset="-128"/>
                  <a:sym typeface="Gill Sans" charset="0"/>
                </a:rPr>
                <a:t>Sem 11/03</a:t>
              </a:r>
            </a:p>
          </p:txBody>
        </p:sp>
        <p:cxnSp>
          <p:nvCxnSpPr>
            <p:cNvPr id="24" name="OTLSHAPE_TB_00000000000000000000000000000000_Separator2"/>
            <p:cNvCxnSpPr/>
            <p:nvPr>
              <p:custDataLst>
                <p:tags r:id="rId30"/>
              </p:custDataLst>
            </p:nvPr>
          </p:nvCxnSpPr>
          <p:spPr>
            <a:xfrm>
              <a:off x="5709338" y="1061902"/>
              <a:ext cx="0" cy="252000"/>
            </a:xfrm>
            <a:prstGeom prst="line">
              <a:avLst/>
            </a:prstGeom>
            <a:ln w="9525" cap="flat" cmpd="sng" algn="ctr">
              <a:solidFill>
                <a:schemeClr val="lt1">
                  <a:alpha val="29804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TLSHAPE_TB_00000000000000000000000000000000_TimescaleInterval2"/>
            <p:cNvSpPr txBox="1"/>
            <p:nvPr>
              <p:custDataLst>
                <p:tags r:id="rId31"/>
              </p:custDataLst>
            </p:nvPr>
          </p:nvSpPr>
          <p:spPr>
            <a:xfrm>
              <a:off x="5804904" y="1055580"/>
              <a:ext cx="540000" cy="269875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/>
            <a:lstStyle/>
            <a:p>
              <a:pPr defTabSz="90660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200" spc="-27">
                  <a:solidFill>
                    <a:prstClr val="white"/>
                  </a:solidFill>
                  <a:latin typeface="Calibri" panose="020F0502020204030204" pitchFamily="34" charset="0"/>
                  <a:ea typeface="ヒラギノ角ゴ ProN W3" charset="-128"/>
                  <a:sym typeface="Gill Sans" charset="0"/>
                </a:rPr>
                <a:t>Sem 18/03</a:t>
              </a:r>
            </a:p>
          </p:txBody>
        </p:sp>
        <p:cxnSp>
          <p:nvCxnSpPr>
            <p:cNvPr id="26" name="OTLSHAPE_TB_00000000000000000000000000000000_Separator2"/>
            <p:cNvCxnSpPr/>
            <p:nvPr>
              <p:custDataLst>
                <p:tags r:id="rId32"/>
              </p:custDataLst>
            </p:nvPr>
          </p:nvCxnSpPr>
          <p:spPr>
            <a:xfrm>
              <a:off x="6420394" y="1061902"/>
              <a:ext cx="0" cy="252000"/>
            </a:xfrm>
            <a:prstGeom prst="line">
              <a:avLst/>
            </a:prstGeom>
            <a:ln w="9525" cap="flat" cmpd="sng" algn="ctr">
              <a:solidFill>
                <a:schemeClr val="lt1">
                  <a:alpha val="29804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TLSHAPE_TB_00000000000000000000000000000000_TimescaleInterval2"/>
            <p:cNvSpPr txBox="1"/>
            <p:nvPr>
              <p:custDataLst>
                <p:tags r:id="rId33"/>
              </p:custDataLst>
            </p:nvPr>
          </p:nvSpPr>
          <p:spPr>
            <a:xfrm>
              <a:off x="6515789" y="1055580"/>
              <a:ext cx="540000" cy="269875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/>
            <a:lstStyle/>
            <a:p>
              <a:pPr defTabSz="90660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200" spc="-27">
                  <a:solidFill>
                    <a:prstClr val="white"/>
                  </a:solidFill>
                  <a:latin typeface="Calibri" panose="020F0502020204030204" pitchFamily="34" charset="0"/>
                  <a:ea typeface="ヒラギノ角ゴ ProN W3" charset="-128"/>
                  <a:sym typeface="Gill Sans" charset="0"/>
                </a:rPr>
                <a:t>Sem 25/03</a:t>
              </a:r>
            </a:p>
          </p:txBody>
        </p:sp>
        <p:cxnSp>
          <p:nvCxnSpPr>
            <p:cNvPr id="28" name="OTLSHAPE_TB_00000000000000000000000000000000_Separator2"/>
            <p:cNvCxnSpPr/>
            <p:nvPr>
              <p:custDataLst>
                <p:tags r:id="rId34"/>
              </p:custDataLst>
            </p:nvPr>
          </p:nvCxnSpPr>
          <p:spPr>
            <a:xfrm>
              <a:off x="7131450" y="1061902"/>
              <a:ext cx="0" cy="252000"/>
            </a:xfrm>
            <a:prstGeom prst="line">
              <a:avLst/>
            </a:prstGeom>
            <a:ln w="9525" cap="flat" cmpd="sng" algn="ctr">
              <a:solidFill>
                <a:schemeClr val="lt1">
                  <a:alpha val="29804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TLSHAPE_TB_00000000000000000000000000000000_TimescaleInterval2"/>
            <p:cNvSpPr txBox="1"/>
            <p:nvPr>
              <p:custDataLst>
                <p:tags r:id="rId35"/>
              </p:custDataLst>
            </p:nvPr>
          </p:nvSpPr>
          <p:spPr>
            <a:xfrm>
              <a:off x="7226674" y="1055580"/>
              <a:ext cx="540000" cy="269875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/>
            <a:lstStyle/>
            <a:p>
              <a:pPr defTabSz="90660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200" spc="-27">
                  <a:solidFill>
                    <a:prstClr val="white"/>
                  </a:solidFill>
                  <a:latin typeface="Calibri" panose="020F0502020204030204" pitchFamily="34" charset="0"/>
                  <a:ea typeface="ヒラギノ角ゴ ProN W3" charset="-128"/>
                  <a:sym typeface="Gill Sans" charset="0"/>
                </a:rPr>
                <a:t>Sem 01/04</a:t>
              </a:r>
            </a:p>
          </p:txBody>
        </p:sp>
        <p:sp>
          <p:nvSpPr>
            <p:cNvPr id="30" name="OTLSHAPE_TB_00000000000000000000000000000000_TimescaleInterval2"/>
            <p:cNvSpPr txBox="1"/>
            <p:nvPr>
              <p:custDataLst>
                <p:tags r:id="rId36"/>
              </p:custDataLst>
            </p:nvPr>
          </p:nvSpPr>
          <p:spPr>
            <a:xfrm>
              <a:off x="7937558" y="1055580"/>
              <a:ext cx="540000" cy="269875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/>
            <a:lstStyle/>
            <a:p>
              <a:pPr defTabSz="90660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BR" sz="1200" spc="-27">
                  <a:solidFill>
                    <a:prstClr val="white"/>
                  </a:solidFill>
                  <a:latin typeface="Calibri" panose="020F0502020204030204" pitchFamily="34" charset="0"/>
                  <a:ea typeface="ヒラギノ角ゴ ProN W3" charset="-128"/>
                  <a:sym typeface="Gill Sans" charset="0"/>
                </a:rPr>
                <a:t>Sem 08/04</a:t>
              </a:r>
            </a:p>
          </p:txBody>
        </p:sp>
        <p:cxnSp>
          <p:nvCxnSpPr>
            <p:cNvPr id="31" name="OTLSHAPE_TB_00000000000000000000000000000000_Separator2"/>
            <p:cNvCxnSpPr/>
            <p:nvPr>
              <p:custDataLst>
                <p:tags r:id="rId37"/>
              </p:custDataLst>
            </p:nvPr>
          </p:nvCxnSpPr>
          <p:spPr>
            <a:xfrm>
              <a:off x="7842506" y="1061902"/>
              <a:ext cx="0" cy="252000"/>
            </a:xfrm>
            <a:prstGeom prst="line">
              <a:avLst/>
            </a:prstGeom>
            <a:ln w="9525" cap="flat" cmpd="sng" algn="ctr">
              <a:solidFill>
                <a:schemeClr val="lt1">
                  <a:alpha val="29804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OTLSHAPE_TB_00000000000000000000000000000000_Separator2"/>
            <p:cNvCxnSpPr/>
            <p:nvPr>
              <p:custDataLst>
                <p:tags r:id="rId38"/>
              </p:custDataLst>
            </p:nvPr>
          </p:nvCxnSpPr>
          <p:spPr>
            <a:xfrm>
              <a:off x="8489950" y="1061902"/>
              <a:ext cx="0" cy="252000"/>
            </a:xfrm>
            <a:prstGeom prst="line">
              <a:avLst/>
            </a:prstGeom>
            <a:ln w="9525" cap="flat" cmpd="sng" algn="ctr">
              <a:solidFill>
                <a:schemeClr val="lt1">
                  <a:alpha val="29804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CaixaDeTexto 315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877083" y="679610"/>
            <a:ext cx="289775" cy="131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pt-BR" altLang="pt-BR" sz="1067" b="1">
                <a:solidFill>
                  <a:srgbClr val="17375E"/>
                </a:solidFill>
                <a:latin typeface="Calibri" pitchFamily="34" charset="0"/>
                <a:ea typeface="MS PGothic" pitchFamily="34" charset="-128"/>
              </a:rPr>
              <a:t>R3</a:t>
            </a:r>
          </a:p>
        </p:txBody>
      </p:sp>
      <p:sp>
        <p:nvSpPr>
          <p:cNvPr id="34" name="CaixaDeTexto 316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877083" y="779094"/>
            <a:ext cx="746959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sz="800" b="1">
                <a:solidFill>
                  <a:srgbClr val="0070C0"/>
                </a:solidFill>
                <a:latin typeface="Calibri" pitchFamily="34" charset="0"/>
                <a:ea typeface="MS PGothic" pitchFamily="34" charset="-128"/>
              </a:rPr>
              <a:t>12/02/2016</a:t>
            </a:r>
          </a:p>
        </p:txBody>
      </p:sp>
      <p:sp>
        <p:nvSpPr>
          <p:cNvPr id="35" name="Fluxograma: Mesclar 34"/>
          <p:cNvSpPr/>
          <p:nvPr userDrawn="1">
            <p:custDataLst>
              <p:tags r:id="rId5"/>
            </p:custDataLst>
          </p:nvPr>
        </p:nvSpPr>
        <p:spPr>
          <a:xfrm rot="16200000">
            <a:off x="3742495" y="723516"/>
            <a:ext cx="165100" cy="152400"/>
          </a:xfrm>
          <a:prstGeom prst="flowChartMerge">
            <a:avLst/>
          </a:prstGeom>
          <a:solidFill>
            <a:srgbClr val="00B0F0"/>
          </a:solidFill>
          <a:ln w="25400" cap="flat" cmpd="sng" algn="ctr">
            <a:noFill/>
            <a:prstDash val="solid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/>
        </p:spPr>
        <p:txBody>
          <a:bodyPr lIns="90771" tIns="45719" rIns="90771" bIns="45719" anchor="ctr"/>
          <a:lstStyle/>
          <a:p>
            <a:pPr algn="ctr" defTabSz="9066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067" kern="0">
              <a:solidFill>
                <a:prstClr val="white"/>
              </a:solidFill>
              <a:latin typeface="Calibri" panose="020F0502020204030204" pitchFamily="34" charset="0"/>
              <a:ea typeface="ヒラギノ角ゴ ProN W3" charset="-128"/>
              <a:sym typeface="Gill Sans" charset="0"/>
            </a:endParaRPr>
          </a:p>
        </p:txBody>
      </p:sp>
      <p:cxnSp>
        <p:nvCxnSpPr>
          <p:cNvPr id="36" name="Conector reto 35"/>
          <p:cNvCxnSpPr/>
          <p:nvPr userDrawn="1">
            <p:custDataLst>
              <p:tags r:id="rId6"/>
            </p:custDataLst>
          </p:nvPr>
        </p:nvCxnSpPr>
        <p:spPr>
          <a:xfrm flipH="1">
            <a:off x="10472288" y="717165"/>
            <a:ext cx="0" cy="672000"/>
          </a:xfrm>
          <a:prstGeom prst="line">
            <a:avLst/>
          </a:prstGeom>
          <a:noFill/>
          <a:ln w="15875" cap="flat" cmpd="sng" algn="ctr">
            <a:solidFill>
              <a:srgbClr val="4F81BD"/>
            </a:solidFill>
            <a:prstDash val="solid"/>
            <a:headEnd type="none"/>
            <a:tailEnd type="none"/>
          </a:ln>
          <a:effectLst>
            <a:outerShdw blurRad="63500">
              <a:scrgbClr r="0" g="0" b="0">
                <a:alpha val="50000"/>
              </a:scrgbClr>
            </a:outerShdw>
          </a:effectLst>
        </p:spPr>
      </p:cxnSp>
      <p:sp>
        <p:nvSpPr>
          <p:cNvPr id="37" name="Fluxograma: Mesclar 36"/>
          <p:cNvSpPr/>
          <p:nvPr userDrawn="1">
            <p:custDataLst>
              <p:tags r:id="rId7"/>
            </p:custDataLst>
          </p:nvPr>
        </p:nvSpPr>
        <p:spPr>
          <a:xfrm rot="16200000">
            <a:off x="10466246" y="723516"/>
            <a:ext cx="165100" cy="152400"/>
          </a:xfrm>
          <a:prstGeom prst="flowChartMerge">
            <a:avLst/>
          </a:prstGeom>
          <a:solidFill>
            <a:srgbClr val="17375E"/>
          </a:solidFill>
          <a:ln w="25400" cap="flat" cmpd="sng" algn="ctr">
            <a:noFill/>
            <a:prstDash val="solid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/>
        </p:spPr>
        <p:txBody>
          <a:bodyPr lIns="90771" tIns="45719" rIns="90771" bIns="45719" anchor="ctr"/>
          <a:lstStyle/>
          <a:p>
            <a:pPr algn="ctr" defTabSz="9066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067" kern="0">
              <a:solidFill>
                <a:prstClr val="white"/>
              </a:solidFill>
              <a:latin typeface="Calibri" panose="020F0502020204030204" pitchFamily="34" charset="0"/>
              <a:ea typeface="ヒラギノ角ゴ ProN W3" charset="-128"/>
              <a:sym typeface="Gill Sans" charset="0"/>
            </a:endParaRPr>
          </a:p>
        </p:txBody>
      </p:sp>
      <p:sp>
        <p:nvSpPr>
          <p:cNvPr id="38" name="CaixaDeTexto 315"/>
          <p:cNvSpPr txBox="1"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10614398" y="677095"/>
            <a:ext cx="356956" cy="114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pt-BR" altLang="pt-BR" sz="933" b="1">
                <a:solidFill>
                  <a:srgbClr val="17375E"/>
                </a:solidFill>
                <a:latin typeface="Calibri" pitchFamily="34" charset="0"/>
                <a:ea typeface="MS PGothic" pitchFamily="34" charset="-128"/>
              </a:rPr>
              <a:t>DIA V</a:t>
            </a:r>
          </a:p>
        </p:txBody>
      </p:sp>
      <p:sp>
        <p:nvSpPr>
          <p:cNvPr id="39" name="CaixaDeTexto 316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10610074" y="792613"/>
            <a:ext cx="589905" cy="143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sz="933" b="1">
                <a:solidFill>
                  <a:srgbClr val="0070C0"/>
                </a:solidFill>
                <a:latin typeface="Calibri" pitchFamily="34" charset="0"/>
                <a:ea typeface="MS PGothic" pitchFamily="34" charset="-128"/>
              </a:rPr>
              <a:t>01/04/2016</a:t>
            </a:r>
          </a:p>
        </p:txBody>
      </p:sp>
      <p:sp>
        <p:nvSpPr>
          <p:cNvPr id="44" name="Texto explicativo retangular 8"/>
          <p:cNvSpPr/>
          <p:nvPr userDrawn="1"/>
        </p:nvSpPr>
        <p:spPr>
          <a:xfrm flipH="1">
            <a:off x="192617" y="1870219"/>
            <a:ext cx="719667" cy="4319548"/>
          </a:xfrm>
          <a:prstGeom prst="rect">
            <a:avLst/>
          </a:prstGeom>
          <a:solidFill>
            <a:srgbClr val="008597"/>
          </a:solidFill>
          <a:ln>
            <a:noFill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0771" tIns="45719" rIns="90771" bIns="45719" anchor="ctr"/>
          <a:lstStyle/>
          <a:p>
            <a:pPr algn="ctr" defTabSz="90676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867" kern="0">
              <a:solidFill>
                <a:prstClr val="white"/>
              </a:solidFill>
              <a:sym typeface="Gill Sans" charset="0"/>
            </a:endParaRPr>
          </a:p>
        </p:txBody>
      </p:sp>
      <p:sp>
        <p:nvSpPr>
          <p:cNvPr id="45" name="CaixaDeTexto 31"/>
          <p:cNvSpPr txBox="1">
            <a:spLocks noChangeArrowheads="1"/>
          </p:cNvSpPr>
          <p:nvPr userDrawn="1"/>
        </p:nvSpPr>
        <p:spPr bwMode="auto">
          <a:xfrm>
            <a:off x="138111" y="3599331"/>
            <a:ext cx="827616" cy="256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771" tIns="45719" rIns="90771" bIns="45719">
            <a:spAutoFit/>
          </a:bodyPr>
          <a:lstStyle>
            <a:lvl1pPr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altLang="pt-BR" sz="1067" b="1">
                <a:solidFill>
                  <a:srgbClr val="FFFFFF"/>
                </a:solidFill>
                <a:latin typeface="Calibri" pitchFamily="34" charset="0"/>
                <a:cs typeface="Segoe UI" pitchFamily="34" charset="0"/>
              </a:rPr>
              <a:t>Tendência</a:t>
            </a:r>
          </a:p>
        </p:txBody>
      </p:sp>
      <p:sp>
        <p:nvSpPr>
          <p:cNvPr id="51" name="Elipse 91"/>
          <p:cNvSpPr>
            <a:spLocks noChangeAspect="1"/>
          </p:cNvSpPr>
          <p:nvPr/>
        </p:nvSpPr>
        <p:spPr bwMode="auto">
          <a:xfrm>
            <a:off x="12251772" y="1413209"/>
            <a:ext cx="269875" cy="269875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 defTabSz="90676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867" kern="0">
              <a:solidFill>
                <a:prstClr val="white"/>
              </a:solidFill>
              <a:ea typeface="ヒラギノ角ゴ ProN W3" charset="-128"/>
              <a:sym typeface="Gill Sans" charset="0"/>
            </a:endParaRPr>
          </a:p>
        </p:txBody>
      </p:sp>
      <p:sp>
        <p:nvSpPr>
          <p:cNvPr id="54" name="Elipse 97"/>
          <p:cNvSpPr>
            <a:spLocks noChangeAspect="1"/>
          </p:cNvSpPr>
          <p:nvPr/>
        </p:nvSpPr>
        <p:spPr bwMode="auto">
          <a:xfrm>
            <a:off x="12251772" y="1743009"/>
            <a:ext cx="269875" cy="269875"/>
          </a:xfrm>
          <a:prstGeom prst="ellipse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 defTabSz="90676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867" kern="0">
              <a:solidFill>
                <a:prstClr val="white"/>
              </a:solidFill>
              <a:ea typeface="ヒラギノ角ゴ ProN W3" charset="-128"/>
              <a:sym typeface="Gill Sans" charset="0"/>
            </a:endParaRPr>
          </a:p>
        </p:txBody>
      </p:sp>
      <p:sp>
        <p:nvSpPr>
          <p:cNvPr id="57" name="Elipse 103"/>
          <p:cNvSpPr>
            <a:spLocks noChangeAspect="1"/>
          </p:cNvSpPr>
          <p:nvPr/>
        </p:nvSpPr>
        <p:spPr bwMode="auto">
          <a:xfrm>
            <a:off x="12251772" y="2076753"/>
            <a:ext cx="269875" cy="269875"/>
          </a:xfrm>
          <a:prstGeom prst="ellipse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 defTabSz="90676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867" kern="0">
              <a:solidFill>
                <a:prstClr val="white"/>
              </a:solidFill>
              <a:ea typeface="ヒラギノ角ゴ ProN W3" charset="-128"/>
              <a:sym typeface="Gill Sans" charset="0"/>
            </a:endParaRPr>
          </a:p>
        </p:txBody>
      </p:sp>
      <p:sp>
        <p:nvSpPr>
          <p:cNvPr id="60" name="Elipse 188"/>
          <p:cNvSpPr>
            <a:spLocks noChangeAspect="1"/>
          </p:cNvSpPr>
          <p:nvPr/>
        </p:nvSpPr>
        <p:spPr bwMode="auto">
          <a:xfrm>
            <a:off x="12250985" y="2397253"/>
            <a:ext cx="271463" cy="269875"/>
          </a:xfrm>
          <a:prstGeom prst="ellipse">
            <a:avLst/>
          </a:prstGeom>
          <a:solidFill>
            <a:schemeClr val="bg1">
              <a:lumMod val="75000"/>
            </a:scheme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 defTabSz="90676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867" kern="0">
              <a:solidFill>
                <a:prstClr val="white"/>
              </a:solidFill>
              <a:ea typeface="ヒラギノ角ゴ ProN W3" charset="-128"/>
              <a:sym typeface="Gill Sans" charset="0"/>
            </a:endParaRPr>
          </a:p>
        </p:txBody>
      </p:sp>
      <p:sp>
        <p:nvSpPr>
          <p:cNvPr id="61" name="CaixaDeTexto 315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005570" y="961624"/>
            <a:ext cx="425812" cy="131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pt-BR" altLang="pt-BR" sz="1067" b="1">
                <a:solidFill>
                  <a:srgbClr val="17375E"/>
                </a:solidFill>
                <a:latin typeface="Calibri" pitchFamily="34" charset="0"/>
                <a:ea typeface="MS PGothic" pitchFamily="34" charset="-128"/>
              </a:rPr>
              <a:t>Piloto</a:t>
            </a:r>
          </a:p>
        </p:txBody>
      </p:sp>
      <p:sp>
        <p:nvSpPr>
          <p:cNvPr id="62" name="CaixaDeTexto 316"/>
          <p:cNvSpPr txBox="1"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3985664" y="1097647"/>
            <a:ext cx="629989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defTabSz="6794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defTabSz="6794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sz="800" b="1">
                <a:solidFill>
                  <a:srgbClr val="0070C0"/>
                </a:solidFill>
                <a:latin typeface="Calibri" pitchFamily="34" charset="0"/>
                <a:ea typeface="MS PGothic" pitchFamily="34" charset="-128"/>
              </a:rPr>
              <a:t>15/02/2016</a:t>
            </a:r>
          </a:p>
        </p:txBody>
      </p:sp>
      <p:sp>
        <p:nvSpPr>
          <p:cNvPr id="63" name="Fluxograma: Mesclar 62"/>
          <p:cNvSpPr/>
          <p:nvPr userDrawn="1">
            <p:custDataLst>
              <p:tags r:id="rId12"/>
            </p:custDataLst>
          </p:nvPr>
        </p:nvSpPr>
        <p:spPr>
          <a:xfrm rot="16200000">
            <a:off x="3891801" y="1011169"/>
            <a:ext cx="165100" cy="152400"/>
          </a:xfrm>
          <a:prstGeom prst="flowChartMerge">
            <a:avLst/>
          </a:prstGeom>
          <a:solidFill>
            <a:srgbClr val="00B0F0"/>
          </a:solidFill>
          <a:ln w="25400" cap="flat" cmpd="sng" algn="ctr">
            <a:noFill/>
            <a:prstDash val="solid"/>
          </a:ln>
          <a:effectLst>
            <a:outerShdw blurRad="63500">
              <a:scrgbClr r="0" g="0" b="0">
                <a:alpha val="50000"/>
              </a:scrgbClr>
            </a:outerShdw>
          </a:effectLst>
          <a:scene3d>
            <a:camera prst="orthographicFront"/>
            <a:lightRig rig="threePt" dir="t"/>
          </a:scene3d>
          <a:sp3d>
            <a:bevelT h="12700"/>
          </a:sp3d>
          <a:extLst/>
        </p:spPr>
        <p:txBody>
          <a:bodyPr lIns="90771" tIns="45719" rIns="90771" bIns="45719" anchor="ctr"/>
          <a:lstStyle/>
          <a:p>
            <a:pPr algn="ctr" defTabSz="9066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067" kern="0">
              <a:solidFill>
                <a:prstClr val="white"/>
              </a:solidFill>
              <a:latin typeface="Calibri" panose="020F0502020204030204" pitchFamily="34" charset="0"/>
              <a:ea typeface="ヒラギノ角ゴ ProN W3" charset="-128"/>
              <a:sym typeface="Gill Sans" charset="0"/>
            </a:endParaRPr>
          </a:p>
        </p:txBody>
      </p:sp>
      <p:pic>
        <p:nvPicPr>
          <p:cNvPr id="64" name="Picture 3" descr="C:\Vivo\Beatrix\Coquette\accept_page.png"/>
          <p:cNvPicPr>
            <a:picLocks noChangeAspect="1" noChangeArrowheads="1"/>
          </p:cNvPicPr>
          <p:nvPr userDrawn="1"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5919" y="1940072"/>
            <a:ext cx="432000" cy="432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CaixaDeTexto 31"/>
          <p:cNvSpPr txBox="1"/>
          <p:nvPr userDrawn="1"/>
        </p:nvSpPr>
        <p:spPr>
          <a:xfrm>
            <a:off x="204331" y="2312383"/>
            <a:ext cx="696240" cy="287317"/>
          </a:xfrm>
          <a:prstGeom prst="rect">
            <a:avLst/>
          </a:prstGeom>
          <a:noFill/>
        </p:spPr>
        <p:txBody>
          <a:bodyPr wrap="square" lIns="120797" tIns="60957" rIns="120797" bIns="60957">
            <a:spAutoFit/>
          </a:bodyPr>
          <a:lstStyle/>
          <a:p>
            <a:pPr algn="ctr" defTabSz="120644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067" b="1">
                <a:solidFill>
                  <a:prstClr val="white"/>
                </a:solidFill>
                <a:latin typeface="Calibri" panose="020F0502020204030204" pitchFamily="34" charset="0"/>
                <a:ea typeface="Segoe UI" panose="020B0502040204020203" pitchFamily="34" charset="0"/>
                <a:cs typeface="Segoe UI" panose="020B0502040204020203" pitchFamily="34" charset="0"/>
                <a:sym typeface="Gill Sans" charset="0"/>
              </a:rPr>
              <a:t>Status</a:t>
            </a:r>
          </a:p>
        </p:txBody>
      </p:sp>
      <p:sp>
        <p:nvSpPr>
          <p:cNvPr id="66" name="Texto explicativo retangular 8"/>
          <p:cNvSpPr/>
          <p:nvPr userDrawn="1"/>
        </p:nvSpPr>
        <p:spPr>
          <a:xfrm flipH="1">
            <a:off x="975927" y="1870220"/>
            <a:ext cx="11092367" cy="206537"/>
          </a:xfrm>
          <a:prstGeom prst="rect">
            <a:avLst/>
          </a:prstGeom>
          <a:solidFill>
            <a:srgbClr val="008597"/>
          </a:solidFill>
          <a:ln>
            <a:noFill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90771" tIns="45719" rIns="90771" bIns="45719" anchor="ctr"/>
          <a:lstStyle/>
          <a:p>
            <a:pPr algn="ctr" defTabSz="90676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867" kern="0">
              <a:solidFill>
                <a:prstClr val="white"/>
              </a:solidFill>
              <a:sym typeface="Gill Sans" charset="0"/>
            </a:endParaRPr>
          </a:p>
        </p:txBody>
      </p:sp>
      <p:sp>
        <p:nvSpPr>
          <p:cNvPr id="85" name="Espaço Reservado para Texto 84"/>
          <p:cNvSpPr>
            <a:spLocks noGrp="1"/>
          </p:cNvSpPr>
          <p:nvPr>
            <p:ph type="body" sz="quarter" idx="11" hasCustomPrompt="1"/>
          </p:nvPr>
        </p:nvSpPr>
        <p:spPr>
          <a:xfrm>
            <a:off x="977053" y="2167364"/>
            <a:ext cx="3210632" cy="4022400"/>
          </a:xfrm>
          <a:prstGeom prst="rect">
            <a:avLst/>
          </a:prstGeom>
          <a:noFill/>
          <a:ln w="9525">
            <a:solidFill>
              <a:srgbClr val="008597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Autofit/>
          </a:bodyPr>
          <a:lstStyle>
            <a:lvl1pPr>
              <a:defRPr lang="pt-BR" sz="1333" b="1" kern="1200" dirty="0">
                <a:solidFill>
                  <a:srgbClr val="005271"/>
                </a:solidFill>
                <a:latin typeface="Calibri" pitchFamily="34" charset="0"/>
                <a:ea typeface="ヒラギノ角ゴ ProN W3" charset="-128"/>
                <a:cs typeface="+mn-cs"/>
              </a:defRPr>
            </a:lvl1pPr>
          </a:lstStyle>
          <a:p>
            <a:pPr marL="0" lvl="0" indent="0" algn="just" defTabSz="905911">
              <a:spcBef>
                <a:spcPct val="0"/>
              </a:spcBef>
              <a:buClr>
                <a:srgbClr val="F9B461"/>
              </a:buClr>
            </a:pPr>
            <a:r>
              <a:rPr lang="pt-BR"/>
              <a:t>Resumo:</a:t>
            </a:r>
          </a:p>
        </p:txBody>
      </p:sp>
      <p:sp>
        <p:nvSpPr>
          <p:cNvPr id="86" name="Espaço Reservado para Texto 84"/>
          <p:cNvSpPr>
            <a:spLocks noGrp="1"/>
          </p:cNvSpPr>
          <p:nvPr>
            <p:ph type="body" sz="quarter" idx="12" hasCustomPrompt="1"/>
          </p:nvPr>
        </p:nvSpPr>
        <p:spPr>
          <a:xfrm>
            <a:off x="4348697" y="2169355"/>
            <a:ext cx="3792000" cy="1942796"/>
          </a:xfrm>
          <a:prstGeom prst="rect">
            <a:avLst/>
          </a:prstGeom>
          <a:noFill/>
          <a:ln w="9525">
            <a:solidFill>
              <a:srgbClr val="008597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Autofit/>
          </a:bodyPr>
          <a:lstStyle>
            <a:lvl1pPr>
              <a:defRPr lang="pt-BR" sz="1333" b="1" kern="1200" dirty="0">
                <a:solidFill>
                  <a:srgbClr val="005271"/>
                </a:solidFill>
                <a:latin typeface="Calibri" pitchFamily="34" charset="0"/>
                <a:ea typeface="ヒラギノ角ゴ ProN W3" charset="-128"/>
                <a:cs typeface="+mn-cs"/>
              </a:defRPr>
            </a:lvl1pPr>
          </a:lstStyle>
          <a:p>
            <a:pPr marL="0" lvl="0" indent="0" algn="just" defTabSz="905911">
              <a:spcBef>
                <a:spcPct val="0"/>
              </a:spcBef>
              <a:buClr>
                <a:srgbClr val="F9B461"/>
              </a:buClr>
            </a:pPr>
            <a:r>
              <a:rPr lang="pt-BR"/>
              <a:t>Pendências:</a:t>
            </a:r>
          </a:p>
        </p:txBody>
      </p:sp>
      <p:sp>
        <p:nvSpPr>
          <p:cNvPr id="87" name="Espaço Reservado para Texto 84"/>
          <p:cNvSpPr>
            <a:spLocks noGrp="1"/>
          </p:cNvSpPr>
          <p:nvPr>
            <p:ph type="body" sz="quarter" idx="13" hasCustomPrompt="1"/>
          </p:nvPr>
        </p:nvSpPr>
        <p:spPr>
          <a:xfrm>
            <a:off x="4348697" y="4246971"/>
            <a:ext cx="3792000" cy="1942796"/>
          </a:xfrm>
          <a:prstGeom prst="rect">
            <a:avLst/>
          </a:prstGeom>
          <a:noFill/>
          <a:ln w="9525">
            <a:solidFill>
              <a:srgbClr val="008597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Autofit/>
          </a:bodyPr>
          <a:lstStyle>
            <a:lvl1pPr>
              <a:defRPr lang="pt-BR" sz="1333" b="1" kern="1200" dirty="0">
                <a:solidFill>
                  <a:srgbClr val="005271"/>
                </a:solidFill>
                <a:latin typeface="Calibri" pitchFamily="34" charset="0"/>
                <a:ea typeface="ヒラギノ角ゴ ProN W3" charset="-128"/>
                <a:cs typeface="+mn-cs"/>
              </a:defRPr>
            </a:lvl1pPr>
          </a:lstStyle>
          <a:p>
            <a:pPr marL="0" lvl="0" indent="0" algn="just" defTabSz="905911">
              <a:spcBef>
                <a:spcPct val="0"/>
              </a:spcBef>
              <a:buClr>
                <a:srgbClr val="F9B461"/>
              </a:buClr>
            </a:pPr>
            <a:r>
              <a:rPr lang="pt-BR"/>
              <a:t>Pontos Chave para Sucesso:</a:t>
            </a:r>
          </a:p>
        </p:txBody>
      </p:sp>
      <p:sp>
        <p:nvSpPr>
          <p:cNvPr id="88" name="Espaço Reservado para Texto 84"/>
          <p:cNvSpPr>
            <a:spLocks noGrp="1"/>
          </p:cNvSpPr>
          <p:nvPr>
            <p:ph type="body" sz="quarter" idx="14" hasCustomPrompt="1"/>
          </p:nvPr>
        </p:nvSpPr>
        <p:spPr>
          <a:xfrm>
            <a:off x="8276293" y="2169355"/>
            <a:ext cx="3792000" cy="1942796"/>
          </a:xfrm>
          <a:prstGeom prst="rect">
            <a:avLst/>
          </a:prstGeom>
          <a:noFill/>
          <a:ln w="9525">
            <a:solidFill>
              <a:srgbClr val="008597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Autofit/>
          </a:bodyPr>
          <a:lstStyle>
            <a:lvl1pPr>
              <a:defRPr lang="pt-BR" sz="1333" b="1" kern="1200" dirty="0">
                <a:solidFill>
                  <a:srgbClr val="005271"/>
                </a:solidFill>
                <a:latin typeface="Calibri" pitchFamily="34" charset="0"/>
                <a:ea typeface="ヒラギノ角ゴ ProN W3" charset="-128"/>
                <a:cs typeface="+mn-cs"/>
              </a:defRPr>
            </a:lvl1pPr>
          </a:lstStyle>
          <a:p>
            <a:pPr marL="0" lvl="0" indent="0" algn="just" defTabSz="905911">
              <a:spcBef>
                <a:spcPct val="0"/>
              </a:spcBef>
              <a:buClr>
                <a:srgbClr val="F9B461"/>
              </a:buClr>
            </a:pPr>
            <a:r>
              <a:rPr lang="pt-BR"/>
              <a:t>Próximos Passos:</a:t>
            </a:r>
          </a:p>
        </p:txBody>
      </p:sp>
      <p:sp>
        <p:nvSpPr>
          <p:cNvPr id="89" name="Espaço Reservado para Texto 84"/>
          <p:cNvSpPr>
            <a:spLocks noGrp="1"/>
          </p:cNvSpPr>
          <p:nvPr>
            <p:ph type="body" sz="quarter" idx="15" hasCustomPrompt="1"/>
          </p:nvPr>
        </p:nvSpPr>
        <p:spPr>
          <a:xfrm>
            <a:off x="8276292" y="4246971"/>
            <a:ext cx="3792000" cy="1942796"/>
          </a:xfrm>
          <a:prstGeom prst="rect">
            <a:avLst/>
          </a:prstGeom>
          <a:noFill/>
          <a:ln w="9525">
            <a:solidFill>
              <a:srgbClr val="008597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Autofit/>
          </a:bodyPr>
          <a:lstStyle>
            <a:lvl1pPr>
              <a:defRPr lang="pt-BR" sz="1333" b="1" kern="1200" dirty="0">
                <a:solidFill>
                  <a:srgbClr val="005271"/>
                </a:solidFill>
                <a:latin typeface="Calibri" pitchFamily="34" charset="0"/>
                <a:ea typeface="ヒラギノ角ゴ ProN W3" charset="-128"/>
                <a:cs typeface="+mn-cs"/>
              </a:defRPr>
            </a:lvl1pPr>
          </a:lstStyle>
          <a:p>
            <a:pPr marL="0" lvl="0" indent="0" algn="just" defTabSz="905911">
              <a:spcBef>
                <a:spcPct val="0"/>
              </a:spcBef>
              <a:buClr>
                <a:srgbClr val="F9B461"/>
              </a:buClr>
            </a:pPr>
            <a:r>
              <a:rPr lang="pt-BR"/>
              <a:t>Decisões:</a:t>
            </a:r>
          </a:p>
        </p:txBody>
      </p:sp>
    </p:spTree>
    <p:extLst>
      <p:ext uri="{BB962C8B-B14F-4D97-AF65-F5344CB8AC3E}">
        <p14:creationId xmlns:p14="http://schemas.microsoft.com/office/powerpoint/2010/main" val="42792187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O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033" y="2224800"/>
            <a:ext cx="5558385" cy="360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lnSpc>
                <a:spcPct val="100000"/>
              </a:lnSpc>
              <a:defRPr lang="pt-BR" altLang="en-US" sz="2200" dirty="0">
                <a:solidFill>
                  <a:schemeClr val="tx1"/>
                </a:solidFill>
                <a:latin typeface="+mj-lt"/>
                <a:ea typeface="+mn-ea"/>
              </a:defRPr>
            </a:lvl1pPr>
          </a:lstStyle>
          <a:p>
            <a:pPr lvl="0" indent="0">
              <a:lnSpc>
                <a:spcPct val="140000"/>
              </a:lnSpc>
              <a:spcBef>
                <a:spcPts val="0"/>
              </a:spcBef>
              <a:buFont typeface="Wingdings" pitchFamily="2" charset="2"/>
            </a:pPr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title</a:t>
            </a:r>
            <a:r>
              <a:rPr lang="es-ES_tradnl"/>
              <a:t> </a:t>
            </a:r>
            <a:r>
              <a:rPr lang="es-ES_tradnl" err="1"/>
              <a:t>style</a:t>
            </a:r>
            <a:endParaRPr lang="es-ES_tradn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91694" y="2224800"/>
            <a:ext cx="5558385" cy="360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lnSpc>
                <a:spcPct val="100000"/>
              </a:lnSpc>
              <a:defRPr lang="es-ES_tradnl" sz="2200" b="1" baseline="0" dirty="0">
                <a:latin typeface="+mj-lt"/>
                <a:sym typeface="Trebuchet MS" pitchFamily="34" charset="0"/>
              </a:defRPr>
            </a:lvl1pPr>
          </a:lstStyle>
          <a:p>
            <a:pPr marL="0" lvl="0" indent="0">
              <a:lnSpc>
                <a:spcPct val="140000"/>
              </a:lnSpc>
              <a:spcBef>
                <a:spcPts val="0"/>
              </a:spcBef>
              <a:buFont typeface="Wingdings" pitchFamily="2" charset="2"/>
              <a:buNone/>
              <a:tabLst/>
            </a:pPr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Master </a:t>
            </a:r>
            <a:r>
              <a:rPr lang="es-ES_tradnl" err="1"/>
              <a:t>subtitle</a:t>
            </a:r>
            <a:r>
              <a:rPr lang="es-ES_tradnl"/>
              <a:t> </a:t>
            </a:r>
            <a:r>
              <a:rPr lang="es-ES_tradnl" err="1"/>
              <a:t>style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7350927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65760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Título más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2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0"/>
          </p:nvPr>
        </p:nvSpPr>
        <p:spPr>
          <a:xfrm>
            <a:off x="1391481" y="644692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218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487" indent="0">
              <a:buNone/>
              <a:defRPr sz="2667" b="1"/>
            </a:lvl2pPr>
            <a:lvl3pPr marL="1218975" indent="0">
              <a:buNone/>
              <a:defRPr sz="2400" b="1"/>
            </a:lvl3pPr>
            <a:lvl4pPr marL="1828461" indent="0">
              <a:buNone/>
              <a:defRPr sz="2133" b="1"/>
            </a:lvl4pPr>
            <a:lvl5pPr marL="2437950" indent="0">
              <a:buNone/>
              <a:defRPr sz="2133" b="1"/>
            </a:lvl5pPr>
            <a:lvl6pPr marL="3047436" indent="0">
              <a:buNone/>
              <a:defRPr sz="2133" b="1"/>
            </a:lvl6pPr>
            <a:lvl7pPr marL="3656923" indent="0">
              <a:buNone/>
              <a:defRPr sz="2133" b="1"/>
            </a:lvl7pPr>
            <a:lvl8pPr marL="4266411" indent="0">
              <a:buNone/>
              <a:defRPr sz="2133" b="1"/>
            </a:lvl8pPr>
            <a:lvl9pPr marL="4875898" indent="0">
              <a:buNone/>
              <a:defRPr sz="2133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198090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ior -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2 Marcador de contenido"/>
          <p:cNvSpPr>
            <a:spLocks noGrp="1"/>
          </p:cNvSpPr>
          <p:nvPr>
            <p:ph sz="half" idx="11"/>
          </p:nvPr>
        </p:nvSpPr>
        <p:spPr>
          <a:xfrm>
            <a:off x="596820" y="1365387"/>
            <a:ext cx="10999373" cy="4525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/>
              <a:t>Clique para editar os estilos de texto mestres</a:t>
            </a:r>
          </a:p>
        </p:txBody>
      </p:sp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2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4" name="2 Marcador de texto"/>
          <p:cNvSpPr>
            <a:spLocks noGrp="1"/>
          </p:cNvSpPr>
          <p:nvPr>
            <p:ph type="body" idx="10"/>
          </p:nvPr>
        </p:nvSpPr>
        <p:spPr>
          <a:xfrm>
            <a:off x="1391481" y="644692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218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487" indent="0">
              <a:buNone/>
              <a:defRPr sz="2667" b="1"/>
            </a:lvl2pPr>
            <a:lvl3pPr marL="1218975" indent="0">
              <a:buNone/>
              <a:defRPr sz="2400" b="1"/>
            </a:lvl3pPr>
            <a:lvl4pPr marL="1828461" indent="0">
              <a:buNone/>
              <a:defRPr sz="2133" b="1"/>
            </a:lvl4pPr>
            <a:lvl5pPr marL="2437950" indent="0">
              <a:buNone/>
              <a:defRPr sz="2133" b="1"/>
            </a:lvl5pPr>
            <a:lvl6pPr marL="3047436" indent="0">
              <a:buNone/>
              <a:defRPr sz="2133" b="1"/>
            </a:lvl6pPr>
            <a:lvl7pPr marL="3656923" indent="0">
              <a:buNone/>
              <a:defRPr sz="2133" b="1"/>
            </a:lvl7pPr>
            <a:lvl8pPr marL="4266411" indent="0">
              <a:buNone/>
              <a:defRPr sz="2133" b="1"/>
            </a:lvl8pPr>
            <a:lvl9pPr marL="4875898" indent="0">
              <a:buNone/>
              <a:defRPr sz="2133" b="1"/>
            </a:lvl9pPr>
          </a:lstStyle>
          <a:p>
            <a:pPr lvl="0"/>
            <a:endParaRPr lang="es-ES" altLang="es-ES" noProof="0"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5661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Niveles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>
            <a:spLocks noGrp="1"/>
          </p:cNvSpPr>
          <p:nvPr>
            <p:ph sz="half" idx="12"/>
          </p:nvPr>
        </p:nvSpPr>
        <p:spPr>
          <a:xfrm>
            <a:off x="596819" y="1383066"/>
            <a:ext cx="10842379" cy="4508285"/>
          </a:xfrm>
          <a:prstGeom prst="rect">
            <a:avLst/>
          </a:prstGeom>
        </p:spPr>
        <p:txBody>
          <a:bodyPr/>
          <a:lstStyle>
            <a:lvl1pPr marL="457115" indent="-457115">
              <a:buSzPct val="100000"/>
              <a:buFont typeface="Arial" panose="020B0604020202020204" pitchFamily="34" charset="0"/>
              <a:buChar char="•"/>
              <a:defRPr sz="3199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66603" indent="-457115">
              <a:buClr>
                <a:schemeClr val="tx2"/>
              </a:buClr>
              <a:buFont typeface="Courier New" panose="02070309020205020404" pitchFamily="49" charset="0"/>
              <a:buChar char="o"/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76090" indent="-457115">
              <a:buClr>
                <a:schemeClr val="tx2"/>
              </a:buClr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13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/>
              <a:t>Clique para editar os estilos de texto mestres</a:t>
            </a:r>
          </a:p>
          <a:p>
            <a:pPr lvl="1"/>
            <a:r>
              <a:rPr lang="es-ES"/>
              <a:t>Segundo nível</a:t>
            </a:r>
          </a:p>
          <a:p>
            <a:pPr lvl="2"/>
            <a:r>
              <a:rPr lang="es-ES"/>
              <a:t>Terceiro nível</a:t>
            </a:r>
          </a:p>
          <a:p>
            <a:pPr lvl="3"/>
            <a:r>
              <a:rPr lang="es-ES"/>
              <a:t>Quarto nível</a:t>
            </a:r>
          </a:p>
        </p:txBody>
      </p:sp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2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4" name="2 Marcador de texto"/>
          <p:cNvSpPr>
            <a:spLocks noGrp="1"/>
          </p:cNvSpPr>
          <p:nvPr>
            <p:ph type="body" idx="10"/>
          </p:nvPr>
        </p:nvSpPr>
        <p:spPr>
          <a:xfrm>
            <a:off x="1391481" y="644692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218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487" indent="0">
              <a:buNone/>
              <a:defRPr sz="2667" b="1"/>
            </a:lvl2pPr>
            <a:lvl3pPr marL="1218975" indent="0">
              <a:buNone/>
              <a:defRPr sz="2400" b="1"/>
            </a:lvl3pPr>
            <a:lvl4pPr marL="1828461" indent="0">
              <a:buNone/>
              <a:defRPr sz="2133" b="1"/>
            </a:lvl4pPr>
            <a:lvl5pPr marL="2437950" indent="0">
              <a:buNone/>
              <a:defRPr sz="2133" b="1"/>
            </a:lvl5pPr>
            <a:lvl6pPr marL="3047436" indent="0">
              <a:buNone/>
              <a:defRPr sz="2133" b="1"/>
            </a:lvl6pPr>
            <a:lvl7pPr marL="3656923" indent="0">
              <a:buNone/>
              <a:defRPr sz="2133" b="1"/>
            </a:lvl7pPr>
            <a:lvl8pPr marL="4266411" indent="0">
              <a:buNone/>
              <a:defRPr sz="2133" b="1"/>
            </a:lvl8pPr>
            <a:lvl9pPr marL="4875898" indent="0">
              <a:buNone/>
              <a:defRPr sz="2133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3356988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Doble columna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2 Marcador de contenido"/>
          <p:cNvSpPr>
            <a:spLocks noGrp="1"/>
          </p:cNvSpPr>
          <p:nvPr>
            <p:ph sz="half" idx="13"/>
          </p:nvPr>
        </p:nvSpPr>
        <p:spPr>
          <a:xfrm>
            <a:off x="6233638" y="1600203"/>
            <a:ext cx="5397581" cy="4525963"/>
          </a:xfrm>
          <a:prstGeom prst="rect">
            <a:avLst/>
          </a:prstGeom>
        </p:spPr>
        <p:txBody>
          <a:bodyPr/>
          <a:lstStyle>
            <a:lvl1pPr marL="457115" indent="-457115">
              <a:buSzPct val="100000"/>
              <a:buFont typeface="Arial" panose="020B0604020202020204" pitchFamily="34" charset="0"/>
              <a:buChar char="•"/>
              <a:defRPr sz="3199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66603" indent="-457115">
              <a:buClr>
                <a:schemeClr val="tx2"/>
              </a:buClr>
              <a:buFont typeface="Courier New" panose="02070309020205020404" pitchFamily="49" charset="0"/>
              <a:buChar char="o"/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76090" indent="-457115">
              <a:buClr>
                <a:schemeClr val="tx2"/>
              </a:buClr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13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/>
              <a:t>Clique para editar os estilos de texto mestres</a:t>
            </a:r>
          </a:p>
          <a:p>
            <a:pPr lvl="1"/>
            <a:r>
              <a:rPr lang="es-ES"/>
              <a:t>Segundo nível</a:t>
            </a:r>
          </a:p>
          <a:p>
            <a:pPr lvl="2"/>
            <a:r>
              <a:rPr lang="es-ES"/>
              <a:t>Terceiro nível</a:t>
            </a:r>
          </a:p>
          <a:p>
            <a:pPr lvl="3"/>
            <a:r>
              <a:rPr lang="es-ES"/>
              <a:t>Quarto nível</a:t>
            </a:r>
          </a:p>
        </p:txBody>
      </p:sp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2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1"/>
          </p:nvPr>
        </p:nvSpPr>
        <p:spPr>
          <a:xfrm>
            <a:off x="1391481" y="644692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218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487" indent="0">
              <a:buNone/>
              <a:defRPr sz="2667" b="1"/>
            </a:lvl2pPr>
            <a:lvl3pPr marL="1218975" indent="0">
              <a:buNone/>
              <a:defRPr sz="2400" b="1"/>
            </a:lvl3pPr>
            <a:lvl4pPr marL="1828461" indent="0">
              <a:buNone/>
              <a:defRPr sz="2133" b="1"/>
            </a:lvl4pPr>
            <a:lvl5pPr marL="2437950" indent="0">
              <a:buNone/>
              <a:defRPr sz="2133" b="1"/>
            </a:lvl5pPr>
            <a:lvl6pPr marL="3047436" indent="0">
              <a:buNone/>
              <a:defRPr sz="2133" b="1"/>
            </a:lvl6pPr>
            <a:lvl7pPr marL="3656923" indent="0">
              <a:buNone/>
              <a:defRPr sz="2133" b="1"/>
            </a:lvl7pPr>
            <a:lvl8pPr marL="4266411" indent="0">
              <a:buNone/>
              <a:defRPr sz="2133" b="1"/>
            </a:lvl8pPr>
            <a:lvl9pPr marL="4875898" indent="0">
              <a:buNone/>
              <a:defRPr sz="2133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  <p:sp>
        <p:nvSpPr>
          <p:cNvPr id="9" name="2 Marcador de contenido"/>
          <p:cNvSpPr>
            <a:spLocks noGrp="1"/>
          </p:cNvSpPr>
          <p:nvPr>
            <p:ph sz="half" idx="12"/>
          </p:nvPr>
        </p:nvSpPr>
        <p:spPr>
          <a:xfrm>
            <a:off x="596820" y="1600203"/>
            <a:ext cx="5397581" cy="4525963"/>
          </a:xfrm>
          <a:prstGeom prst="rect">
            <a:avLst/>
          </a:prstGeom>
        </p:spPr>
        <p:txBody>
          <a:bodyPr/>
          <a:lstStyle>
            <a:lvl1pPr marL="457115" indent="-457115">
              <a:buSzPct val="100000"/>
              <a:buFont typeface="Arial" panose="020B0604020202020204" pitchFamily="34" charset="0"/>
              <a:buChar char="•"/>
              <a:defRPr sz="3199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66603" indent="-457115">
              <a:buClr>
                <a:schemeClr val="tx2"/>
              </a:buClr>
              <a:buFont typeface="Courier New" panose="02070309020205020404" pitchFamily="49" charset="0"/>
              <a:buChar char="o"/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76090" indent="-457115">
              <a:buClr>
                <a:schemeClr val="tx2"/>
              </a:buClr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13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/>
              <a:t>Clique para editar os estilos de texto mestres</a:t>
            </a:r>
          </a:p>
          <a:p>
            <a:pPr lvl="1"/>
            <a:r>
              <a:rPr lang="es-ES"/>
              <a:t>Segundo nível</a:t>
            </a:r>
          </a:p>
          <a:p>
            <a:pPr lvl="2"/>
            <a:r>
              <a:rPr lang="es-ES"/>
              <a:t>Terceiro nível</a:t>
            </a:r>
          </a:p>
          <a:p>
            <a:pPr lvl="3"/>
            <a:r>
              <a:rPr lang="es-ES"/>
              <a:t>Quarto nível</a:t>
            </a:r>
          </a:p>
        </p:txBody>
      </p:sp>
    </p:spTree>
    <p:extLst>
      <p:ext uri="{BB962C8B-B14F-4D97-AF65-F5344CB8AC3E}">
        <p14:creationId xmlns:p14="http://schemas.microsoft.com/office/powerpoint/2010/main" val="13992413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Cuadro d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2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0"/>
          </p:nvPr>
        </p:nvSpPr>
        <p:spPr>
          <a:xfrm>
            <a:off x="1391481" y="644692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218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487" indent="0">
              <a:buNone/>
              <a:defRPr sz="2667" b="1"/>
            </a:lvl2pPr>
            <a:lvl3pPr marL="1218975" indent="0">
              <a:buNone/>
              <a:defRPr sz="2400" b="1"/>
            </a:lvl3pPr>
            <a:lvl4pPr marL="1828461" indent="0">
              <a:buNone/>
              <a:defRPr sz="2133" b="1"/>
            </a:lvl4pPr>
            <a:lvl5pPr marL="2437950" indent="0">
              <a:buNone/>
              <a:defRPr sz="2133" b="1"/>
            </a:lvl5pPr>
            <a:lvl6pPr marL="3047436" indent="0">
              <a:buNone/>
              <a:defRPr sz="2133" b="1"/>
            </a:lvl6pPr>
            <a:lvl7pPr marL="3656923" indent="0">
              <a:buNone/>
              <a:defRPr sz="2133" b="1"/>
            </a:lvl7pPr>
            <a:lvl8pPr marL="4266411" indent="0">
              <a:buNone/>
              <a:defRPr sz="2133" b="1"/>
            </a:lvl8pPr>
            <a:lvl9pPr marL="4875898" indent="0">
              <a:buNone/>
              <a:defRPr sz="2133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  <p:sp>
        <p:nvSpPr>
          <p:cNvPr id="7" name="2 Marcador de contenido"/>
          <p:cNvSpPr>
            <a:spLocks noGrp="1"/>
          </p:cNvSpPr>
          <p:nvPr>
            <p:ph sz="half" idx="11"/>
          </p:nvPr>
        </p:nvSpPr>
        <p:spPr>
          <a:xfrm>
            <a:off x="609602" y="1600203"/>
            <a:ext cx="10999373" cy="4525963"/>
          </a:xfrm>
          <a:prstGeom prst="rect">
            <a:avLst/>
          </a:prstGeom>
        </p:spPr>
        <p:txBody>
          <a:bodyPr vert="vert"/>
          <a:lstStyle>
            <a:lvl1pPr marL="457115" indent="-457115">
              <a:buSzPct val="100000"/>
              <a:buFont typeface="Arial" panose="020B0604020202020204" pitchFamily="34" charset="0"/>
              <a:buChar char="•"/>
              <a:defRPr sz="3199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66603" indent="-457115">
              <a:buClr>
                <a:schemeClr val="tx2"/>
              </a:buClr>
              <a:buFont typeface="Courier New" panose="02070309020205020404" pitchFamily="49" charset="0"/>
              <a:buChar char="o"/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76090" indent="-457115">
              <a:buClr>
                <a:schemeClr val="tx2"/>
              </a:buClr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13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/>
              <a:t>Clique para editar os estilos de texto mestres</a:t>
            </a:r>
          </a:p>
          <a:p>
            <a:pPr lvl="1"/>
            <a:r>
              <a:rPr lang="es-ES"/>
              <a:t>Segundo nível</a:t>
            </a:r>
          </a:p>
          <a:p>
            <a:pPr lvl="2"/>
            <a:r>
              <a:rPr lang="es-ES"/>
              <a:t>Terceiro nível</a:t>
            </a:r>
          </a:p>
          <a:p>
            <a:pPr lvl="3"/>
            <a:r>
              <a:rPr lang="es-ES"/>
              <a:t>Quarto nível</a:t>
            </a:r>
          </a:p>
        </p:txBody>
      </p:sp>
    </p:spTree>
    <p:extLst>
      <p:ext uri="{BB962C8B-B14F-4D97-AF65-F5344CB8AC3E}">
        <p14:creationId xmlns:p14="http://schemas.microsoft.com/office/powerpoint/2010/main" val="30284437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22115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Niveles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>
            <a:spLocks noGrp="1"/>
          </p:cNvSpPr>
          <p:nvPr>
            <p:ph sz="half" idx="12"/>
          </p:nvPr>
        </p:nvSpPr>
        <p:spPr>
          <a:xfrm>
            <a:off x="596819" y="1383066"/>
            <a:ext cx="10842379" cy="4508284"/>
          </a:xfrm>
          <a:prstGeom prst="rect">
            <a:avLst/>
          </a:prstGeom>
        </p:spPr>
        <p:txBody>
          <a:bodyPr/>
          <a:lstStyle>
            <a:lvl1pPr marL="457189" indent="-457189"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66773" indent="-457189">
              <a:buClr>
                <a:schemeClr val="tx2"/>
              </a:buClr>
              <a:buFont typeface="Courier New" panose="02070309020205020404" pitchFamily="49" charset="0"/>
              <a:buChar char="o"/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76358" indent="-457189">
              <a:buClr>
                <a:schemeClr val="tx2"/>
              </a:buClr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13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/>
              <a:t>Clique para editar os estilos de texto </a:t>
            </a:r>
            <a:r>
              <a:rPr lang="es-ES" err="1"/>
              <a:t>mestres</a:t>
            </a:r>
            <a:endParaRPr lang="es-ES"/>
          </a:p>
          <a:p>
            <a:pPr lvl="1"/>
            <a:r>
              <a:rPr lang="es-ES"/>
              <a:t>Adicionar texto</a:t>
            </a:r>
          </a:p>
          <a:p>
            <a:pPr lvl="2"/>
            <a:r>
              <a:rPr lang="es-ES"/>
              <a:t>Adicionar texto</a:t>
            </a:r>
          </a:p>
          <a:p>
            <a:pPr lvl="3"/>
            <a:r>
              <a:rPr lang="es-ES"/>
              <a:t>Adicionar texto</a:t>
            </a:r>
          </a:p>
        </p:txBody>
      </p:sp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2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4" name="2 Marcador de texto"/>
          <p:cNvSpPr>
            <a:spLocks noGrp="1"/>
          </p:cNvSpPr>
          <p:nvPr>
            <p:ph type="body" idx="10"/>
          </p:nvPr>
        </p:nvSpPr>
        <p:spPr>
          <a:xfrm>
            <a:off x="1391479" y="644690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16757738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Interior - Niveles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2933" b="1">
                <a:solidFill>
                  <a:schemeClr val="accent6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</a:t>
            </a:r>
            <a:r>
              <a:rPr lang="es-ES" altLang="es-ES" err="1"/>
              <a:t>mestre</a:t>
            </a:r>
            <a:endParaRPr lang="es-ES" altLang="es-ES"/>
          </a:p>
        </p:txBody>
      </p:sp>
    </p:spTree>
    <p:extLst>
      <p:ext uri="{BB962C8B-B14F-4D97-AF65-F5344CB8AC3E}">
        <p14:creationId xmlns:p14="http://schemas.microsoft.com/office/powerpoint/2010/main" val="398394465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1"/>
          <a:ext cx="158771" cy="158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13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" y="1"/>
                        <a:ext cx="158771" cy="1587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49088" y="-4232"/>
            <a:ext cx="11686117" cy="750171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4" name="Retângulo 3"/>
          <p:cNvSpPr/>
          <p:nvPr userDrawn="1">
            <p:custDataLst>
              <p:tags r:id="rId4"/>
            </p:custDataLst>
          </p:nvPr>
        </p:nvSpPr>
        <p:spPr bwMode="gray">
          <a:xfrm>
            <a:off x="10734485" y="81694"/>
            <a:ext cx="1457515" cy="733255"/>
          </a:xfrm>
          <a:prstGeom prst="rect">
            <a:avLst/>
          </a:prstGeom>
          <a:solidFill>
            <a:schemeClr val="bg1"/>
          </a:solidFill>
          <a:ln w="28575" algn="ctr">
            <a:noFill/>
            <a:miter lim="800000"/>
            <a:headEnd/>
            <a:tailEnd/>
          </a:ln>
          <a:effectLst/>
        </p:spPr>
        <p:txBody>
          <a:bodyPr lIns="125949" tIns="0" rIns="17992" bIns="0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200" err="1">
              <a:solidFill>
                <a:srgbClr val="FFFFFF"/>
              </a:solidFill>
              <a:ea typeface="ヒラギノ角ゴ ProN W3" charset="-128"/>
              <a:sym typeface="Gill Sans" charset="0"/>
            </a:endParaRPr>
          </a:p>
        </p:txBody>
      </p:sp>
      <p:sp>
        <p:nvSpPr>
          <p:cNvPr id="6" name="Espaço Reservado para Número de Slide 6"/>
          <p:cNvSpPr>
            <a:spLocks noGrp="1"/>
          </p:cNvSpPr>
          <p:nvPr>
            <p:ph type="sldNum" sz="quarter" idx="4"/>
          </p:nvPr>
        </p:nvSpPr>
        <p:spPr>
          <a:xfrm>
            <a:off x="5774297" y="6258894"/>
            <a:ext cx="643467" cy="2245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459" smtClean="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fld id="{EAA3828B-6A38-441A-A4D8-86DF94074D89}" type="slidenum">
              <a:rPr lang="pt-BR">
                <a:solidFill>
                  <a:srgbClr val="00C6DA"/>
                </a:solidFill>
                <a:ea typeface="ヒラギノ角ゴ ProN W3" charset="-128"/>
                <a:sym typeface="Gill Sans" charset="0"/>
              </a:rPr>
              <a:pPr>
                <a:defRPr/>
              </a:pPr>
              <a:t>‹nº›</a:t>
            </a:fld>
            <a:endParaRPr lang="pt-BR">
              <a:solidFill>
                <a:srgbClr val="00C6DA"/>
              </a:solidFill>
              <a:ea typeface="ヒラギノ角ゴ ProN W3" charset="-128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24185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43935" y="0"/>
            <a:ext cx="12048067" cy="538096"/>
          </a:xfrm>
          <a:prstGeom prst="rect">
            <a:avLst/>
          </a:prstGeom>
        </p:spPr>
        <p:txBody>
          <a:bodyPr anchor="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0"/>
          </p:nvPr>
        </p:nvSpPr>
        <p:spPr>
          <a:xfrm>
            <a:off x="143938" y="537635"/>
            <a:ext cx="12048065" cy="491100"/>
          </a:xfrm>
          <a:prstGeom prst="rect">
            <a:avLst/>
          </a:prstGeom>
          <a:ln>
            <a:noFill/>
          </a:ln>
        </p:spPr>
        <p:txBody>
          <a:bodyPr anchor="t" anchorCtr="0"/>
          <a:lstStyle>
            <a:lvl1pPr>
              <a:defRPr lang="pt-BR" sz="2667" b="0" smtClean="0">
                <a:solidFill>
                  <a:schemeClr val="bg2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1pPr>
            <a:lvl2pPr>
              <a:defRPr lang="pt-BR" sz="2667" b="1" smtClean="0">
                <a:solidFill>
                  <a:srgbClr val="0095A1"/>
                </a:solidFill>
                <a:latin typeface="Calibri Light" panose="020F0302020204030204" pitchFamily="34" charset="0"/>
                <a:ea typeface="MS PGothic" pitchFamily="34" charset="-128"/>
              </a:defRPr>
            </a:lvl2pPr>
            <a:lvl3pPr>
              <a:defRPr lang="pt-BR" sz="2400" b="1" smtClean="0">
                <a:solidFill>
                  <a:srgbClr val="0095A1"/>
                </a:solidFill>
                <a:latin typeface="Calibri Light" panose="020F0302020204030204" pitchFamily="34" charset="0"/>
                <a:ea typeface="MS PGothic" pitchFamily="34" charset="-128"/>
              </a:defRPr>
            </a:lvl3pPr>
            <a:lvl4pPr>
              <a:defRPr lang="pt-BR" sz="2133" b="1" smtClean="0">
                <a:ea typeface="MS PGothic" pitchFamily="34" charset="-128"/>
              </a:defRPr>
            </a:lvl4pPr>
            <a:lvl5pPr>
              <a:defRPr lang="pt-BR" sz="2133" b="1">
                <a:ea typeface="MS PGothic" pitchFamily="34" charset="-128"/>
              </a:defRPr>
            </a:lvl5pPr>
          </a:lstStyle>
          <a:p>
            <a:pPr marL="0"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10679446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43935" y="0"/>
            <a:ext cx="12048067" cy="538096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21753467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3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538386"/>
            <a:ext cx="2844800" cy="36618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3FC852AA-C730-49CA-81DD-A7E71B07E655}" type="datetime1">
              <a:rPr lang="pt-BR" sz="3733" smtClean="0">
                <a:solidFill>
                  <a:srgbClr val="000000"/>
                </a:solidFill>
                <a:ea typeface="ヒラギノ角ゴ ProN W3" charset="-128"/>
                <a:sym typeface="Gill Sans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27/10/2017</a:t>
            </a:fld>
            <a:endParaRPr lang="pt-BR" sz="3733">
              <a:solidFill>
                <a:srgbClr val="000000"/>
              </a:solidFill>
              <a:ea typeface="ヒラギノ角ゴ ProN W3" charset="-128"/>
              <a:sym typeface="Gill San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4"/>
            <a:ext cx="3860800" cy="36618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3733">
              <a:solidFill>
                <a:srgbClr val="000000"/>
              </a:solidFill>
              <a:ea typeface="ヒラギノ角ゴ ProN W3" charset="-128"/>
              <a:sym typeface="Gill Sans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60870" y="6487585"/>
            <a:ext cx="565151" cy="36406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334A3D8E-FB0B-4480-9072-2770553512B5}" type="slidenum">
              <a:rPr lang="pt-BR" sz="3733">
                <a:solidFill>
                  <a:srgbClr val="000000"/>
                </a:solidFill>
                <a:ea typeface="ヒラギノ角ゴ ProN W3" charset="-128"/>
                <a:sym typeface="Gill Sans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sz="3733">
              <a:solidFill>
                <a:srgbClr val="000000"/>
              </a:solidFill>
              <a:ea typeface="ヒラギノ角ゴ ProN W3" charset="-128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287304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83827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Título más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623394" y="11663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0"/>
          </p:nvPr>
        </p:nvSpPr>
        <p:spPr>
          <a:xfrm>
            <a:off x="1583505" y="548681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8927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343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46361" indent="0">
              <a:buNone/>
              <a:defRPr sz="1952" b="1"/>
            </a:lvl2pPr>
            <a:lvl3pPr marL="892718" indent="0">
              <a:buNone/>
              <a:defRPr sz="1757" b="1"/>
            </a:lvl3pPr>
            <a:lvl4pPr marL="1339078" indent="0">
              <a:buNone/>
              <a:defRPr sz="1562" b="1"/>
            </a:lvl4pPr>
            <a:lvl5pPr marL="1785436" indent="0">
              <a:buNone/>
              <a:defRPr sz="1562" b="1"/>
            </a:lvl5pPr>
            <a:lvl6pPr marL="2231796" indent="0">
              <a:buNone/>
              <a:defRPr sz="1562" b="1"/>
            </a:lvl6pPr>
            <a:lvl7pPr marL="2678153" indent="0">
              <a:buNone/>
              <a:defRPr sz="1562" b="1"/>
            </a:lvl7pPr>
            <a:lvl8pPr marL="3124514" indent="0">
              <a:buNone/>
              <a:defRPr sz="1562" b="1"/>
            </a:lvl8pPr>
            <a:lvl9pPr marL="3570873" indent="0">
              <a:buNone/>
              <a:defRPr sz="1562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409709523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ior -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2 Marcador de contenido"/>
          <p:cNvSpPr>
            <a:spLocks noGrp="1"/>
          </p:cNvSpPr>
          <p:nvPr>
            <p:ph sz="half" idx="11"/>
          </p:nvPr>
        </p:nvSpPr>
        <p:spPr>
          <a:xfrm>
            <a:off x="596820" y="1365390"/>
            <a:ext cx="10999373" cy="4525963"/>
          </a:xfrm>
          <a:prstGeom prst="rect">
            <a:avLst/>
          </a:prstGeom>
        </p:spPr>
        <p:txBody>
          <a:bodyPr/>
          <a:lstStyle>
            <a:lvl1pPr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757"/>
            </a:lvl6pPr>
            <a:lvl7pPr>
              <a:defRPr sz="1757"/>
            </a:lvl7pPr>
            <a:lvl8pPr>
              <a:defRPr sz="1757"/>
            </a:lvl8pPr>
            <a:lvl9pPr>
              <a:defRPr sz="1757"/>
            </a:lvl9pPr>
          </a:lstStyle>
          <a:p>
            <a:pPr lvl="0"/>
            <a:r>
              <a:rPr lang="es-ES"/>
              <a:t>Clique para editar os estilos de texto mestres</a:t>
            </a:r>
          </a:p>
        </p:txBody>
      </p:sp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623394" y="11663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4" name="2 Marcador de texto"/>
          <p:cNvSpPr>
            <a:spLocks noGrp="1"/>
          </p:cNvSpPr>
          <p:nvPr>
            <p:ph type="body" idx="10"/>
          </p:nvPr>
        </p:nvSpPr>
        <p:spPr>
          <a:xfrm>
            <a:off x="1583505" y="548681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8927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343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46361" indent="0">
              <a:buNone/>
              <a:defRPr sz="1952" b="1"/>
            </a:lvl2pPr>
            <a:lvl3pPr marL="892718" indent="0">
              <a:buNone/>
              <a:defRPr sz="1757" b="1"/>
            </a:lvl3pPr>
            <a:lvl4pPr marL="1339078" indent="0">
              <a:buNone/>
              <a:defRPr sz="1562" b="1"/>
            </a:lvl4pPr>
            <a:lvl5pPr marL="1785436" indent="0">
              <a:buNone/>
              <a:defRPr sz="1562" b="1"/>
            </a:lvl5pPr>
            <a:lvl6pPr marL="2231796" indent="0">
              <a:buNone/>
              <a:defRPr sz="1562" b="1"/>
            </a:lvl6pPr>
            <a:lvl7pPr marL="2678153" indent="0">
              <a:buNone/>
              <a:defRPr sz="1562" b="1"/>
            </a:lvl7pPr>
            <a:lvl8pPr marL="3124514" indent="0">
              <a:buNone/>
              <a:defRPr sz="1562" b="1"/>
            </a:lvl8pPr>
            <a:lvl9pPr marL="3570873" indent="0">
              <a:buNone/>
              <a:defRPr sz="1562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07055705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Niveles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 Marcador de contenido"/>
          <p:cNvSpPr>
            <a:spLocks noGrp="1"/>
          </p:cNvSpPr>
          <p:nvPr>
            <p:ph sz="half" idx="11"/>
          </p:nvPr>
        </p:nvSpPr>
        <p:spPr>
          <a:xfrm>
            <a:off x="596820" y="1365390"/>
            <a:ext cx="10999373" cy="4525963"/>
          </a:xfrm>
          <a:prstGeom prst="rect">
            <a:avLst/>
          </a:prstGeom>
        </p:spPr>
        <p:txBody>
          <a:bodyPr/>
          <a:lstStyle>
            <a:lvl1pPr marL="334768" indent="-334768">
              <a:buSzPct val="100000"/>
              <a:buFont typeface="Arial" panose="020B0604020202020204" pitchFamily="34" charset="0"/>
              <a:buChar char="•"/>
              <a:defRPr sz="234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81129" indent="-334768">
              <a:buClr>
                <a:schemeClr val="tx2"/>
              </a:buClr>
              <a:buFont typeface="Courier New" panose="02070309020205020404" pitchFamily="49" charset="0"/>
              <a:buChar char="o"/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27487" indent="-334768">
              <a:buClr>
                <a:schemeClr val="tx2"/>
              </a:buClr>
              <a:buFont typeface="Wingdings" panose="05000000000000000000" pitchFamily="2" charset="2"/>
              <a:buChar char="§"/>
              <a:defRPr sz="175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156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757"/>
            </a:lvl6pPr>
            <a:lvl7pPr>
              <a:defRPr sz="1757"/>
            </a:lvl7pPr>
            <a:lvl8pPr>
              <a:defRPr sz="1757"/>
            </a:lvl8pPr>
            <a:lvl9pPr>
              <a:defRPr sz="1757"/>
            </a:lvl9pPr>
          </a:lstStyle>
          <a:p>
            <a:pPr lvl="0"/>
            <a:r>
              <a:rPr lang="es-ES"/>
              <a:t>Clique para editar os estilos de texto </a:t>
            </a:r>
            <a:r>
              <a:rPr lang="es-ES" err="1"/>
              <a:t>mestres</a:t>
            </a:r>
            <a:endParaRPr lang="es-ES"/>
          </a:p>
          <a:p>
            <a:pPr lvl="1"/>
            <a:r>
              <a:rPr lang="es-ES"/>
              <a:t>Segundo </a:t>
            </a:r>
            <a:r>
              <a:rPr lang="es-ES" err="1"/>
              <a:t>nível</a:t>
            </a:r>
            <a:endParaRPr lang="es-ES"/>
          </a:p>
          <a:p>
            <a:pPr lvl="2"/>
            <a:r>
              <a:rPr lang="es-ES" err="1"/>
              <a:t>Terceiro</a:t>
            </a:r>
            <a:r>
              <a:rPr lang="es-ES"/>
              <a:t> </a:t>
            </a:r>
            <a:r>
              <a:rPr lang="es-ES" err="1"/>
              <a:t>nível</a:t>
            </a:r>
            <a:endParaRPr lang="es-ES"/>
          </a:p>
          <a:p>
            <a:pPr lvl="3"/>
            <a:r>
              <a:rPr lang="es-ES" err="1"/>
              <a:t>Quarto</a:t>
            </a:r>
            <a:r>
              <a:rPr lang="es-ES"/>
              <a:t> </a:t>
            </a:r>
            <a:r>
              <a:rPr lang="es-ES" err="1"/>
              <a:t>nível</a:t>
            </a:r>
            <a:endParaRPr lang="es-ES"/>
          </a:p>
        </p:txBody>
      </p:sp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623394" y="11663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4" name="2 Marcador de texto"/>
          <p:cNvSpPr>
            <a:spLocks noGrp="1"/>
          </p:cNvSpPr>
          <p:nvPr>
            <p:ph type="body" idx="10"/>
          </p:nvPr>
        </p:nvSpPr>
        <p:spPr>
          <a:xfrm>
            <a:off x="1583505" y="548681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8927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343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46361" indent="0">
              <a:buNone/>
              <a:defRPr sz="1952" b="1"/>
            </a:lvl2pPr>
            <a:lvl3pPr marL="892718" indent="0">
              <a:buNone/>
              <a:defRPr sz="1757" b="1"/>
            </a:lvl3pPr>
            <a:lvl4pPr marL="1339078" indent="0">
              <a:buNone/>
              <a:defRPr sz="1562" b="1"/>
            </a:lvl4pPr>
            <a:lvl5pPr marL="1785436" indent="0">
              <a:buNone/>
              <a:defRPr sz="1562" b="1"/>
            </a:lvl5pPr>
            <a:lvl6pPr marL="2231796" indent="0">
              <a:buNone/>
              <a:defRPr sz="1562" b="1"/>
            </a:lvl6pPr>
            <a:lvl7pPr marL="2678153" indent="0">
              <a:buNone/>
              <a:defRPr sz="1562" b="1"/>
            </a:lvl7pPr>
            <a:lvl8pPr marL="3124514" indent="0">
              <a:buNone/>
              <a:defRPr sz="1562" b="1"/>
            </a:lvl8pPr>
            <a:lvl9pPr marL="3570873" indent="0">
              <a:buNone/>
              <a:defRPr sz="1562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288601363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Doble columna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2 Marcador de contenido"/>
          <p:cNvSpPr>
            <a:spLocks noGrp="1"/>
          </p:cNvSpPr>
          <p:nvPr>
            <p:ph sz="half" idx="13"/>
          </p:nvPr>
        </p:nvSpPr>
        <p:spPr>
          <a:xfrm>
            <a:off x="6233636" y="1600206"/>
            <a:ext cx="5397581" cy="4525963"/>
          </a:xfrm>
          <a:prstGeom prst="rect">
            <a:avLst/>
          </a:prstGeom>
        </p:spPr>
        <p:txBody>
          <a:bodyPr/>
          <a:lstStyle>
            <a:lvl1pPr marL="334768" indent="-334768">
              <a:buSzPct val="100000"/>
              <a:buFont typeface="Arial" panose="020B0604020202020204" pitchFamily="34" charset="0"/>
              <a:buChar char="•"/>
              <a:defRPr sz="234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81129" indent="-334768">
              <a:buClr>
                <a:schemeClr val="tx2"/>
              </a:buClr>
              <a:buFont typeface="Courier New" panose="02070309020205020404" pitchFamily="49" charset="0"/>
              <a:buChar char="o"/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27487" indent="-334768">
              <a:buClr>
                <a:schemeClr val="tx2"/>
              </a:buClr>
              <a:buFont typeface="Wingdings" panose="05000000000000000000" pitchFamily="2" charset="2"/>
              <a:buChar char="§"/>
              <a:defRPr sz="175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156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757"/>
            </a:lvl6pPr>
            <a:lvl7pPr>
              <a:defRPr sz="1757"/>
            </a:lvl7pPr>
            <a:lvl8pPr>
              <a:defRPr sz="1757"/>
            </a:lvl8pPr>
            <a:lvl9pPr>
              <a:defRPr sz="1757"/>
            </a:lvl9pPr>
          </a:lstStyle>
          <a:p>
            <a:pPr lvl="0"/>
            <a:r>
              <a:rPr lang="es-ES"/>
              <a:t>Clique para editar os estilos de texto mestres</a:t>
            </a:r>
          </a:p>
          <a:p>
            <a:pPr lvl="1"/>
            <a:r>
              <a:rPr lang="es-ES"/>
              <a:t>Segundo nível</a:t>
            </a:r>
          </a:p>
          <a:p>
            <a:pPr lvl="2"/>
            <a:r>
              <a:rPr lang="es-ES"/>
              <a:t>Terceiro nível</a:t>
            </a:r>
          </a:p>
          <a:p>
            <a:pPr lvl="3"/>
            <a:r>
              <a:rPr lang="es-ES"/>
              <a:t>Quarto nível</a:t>
            </a:r>
          </a:p>
        </p:txBody>
      </p:sp>
      <p:sp>
        <p:nvSpPr>
          <p:cNvPr id="6" name="2 Marcador de contenido"/>
          <p:cNvSpPr>
            <a:spLocks noGrp="1"/>
          </p:cNvSpPr>
          <p:nvPr>
            <p:ph sz="half" idx="12"/>
          </p:nvPr>
        </p:nvSpPr>
        <p:spPr>
          <a:xfrm>
            <a:off x="596823" y="1600206"/>
            <a:ext cx="5397581" cy="4525963"/>
          </a:xfrm>
          <a:prstGeom prst="rect">
            <a:avLst/>
          </a:prstGeom>
        </p:spPr>
        <p:txBody>
          <a:bodyPr/>
          <a:lstStyle>
            <a:lvl1pPr marL="334768" indent="-334768">
              <a:buSzPct val="100000"/>
              <a:buFont typeface="Arial" panose="020B0604020202020204" pitchFamily="34" charset="0"/>
              <a:buChar char="•"/>
              <a:defRPr sz="234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81129" indent="-334768">
              <a:buClr>
                <a:schemeClr val="tx2"/>
              </a:buClr>
              <a:buFont typeface="Courier New" panose="02070309020205020404" pitchFamily="49" charset="0"/>
              <a:buChar char="o"/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27487" indent="-334768">
              <a:buClr>
                <a:schemeClr val="tx2"/>
              </a:buClr>
              <a:buFont typeface="Wingdings" panose="05000000000000000000" pitchFamily="2" charset="2"/>
              <a:buChar char="§"/>
              <a:defRPr sz="175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156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757"/>
            </a:lvl6pPr>
            <a:lvl7pPr>
              <a:defRPr sz="1757"/>
            </a:lvl7pPr>
            <a:lvl8pPr>
              <a:defRPr sz="1757"/>
            </a:lvl8pPr>
            <a:lvl9pPr>
              <a:defRPr sz="1757"/>
            </a:lvl9pPr>
          </a:lstStyle>
          <a:p>
            <a:pPr lvl="0"/>
            <a:r>
              <a:rPr lang="es-ES"/>
              <a:t>Clique para editar os estilos de texto mestres</a:t>
            </a:r>
          </a:p>
          <a:p>
            <a:pPr lvl="1"/>
            <a:r>
              <a:rPr lang="es-ES"/>
              <a:t>Segundo nível</a:t>
            </a:r>
          </a:p>
          <a:p>
            <a:pPr lvl="2"/>
            <a:r>
              <a:rPr lang="es-ES"/>
              <a:t>Terceiro nível</a:t>
            </a:r>
          </a:p>
          <a:p>
            <a:pPr lvl="3"/>
            <a:r>
              <a:rPr lang="es-ES"/>
              <a:t>Quarto nível</a:t>
            </a:r>
          </a:p>
        </p:txBody>
      </p:sp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623394" y="11663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1"/>
          </p:nvPr>
        </p:nvSpPr>
        <p:spPr>
          <a:xfrm>
            <a:off x="1583505" y="548681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8927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343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46361" indent="0">
              <a:buNone/>
              <a:defRPr sz="1952" b="1"/>
            </a:lvl2pPr>
            <a:lvl3pPr marL="892718" indent="0">
              <a:buNone/>
              <a:defRPr sz="1757" b="1"/>
            </a:lvl3pPr>
            <a:lvl4pPr marL="1339078" indent="0">
              <a:buNone/>
              <a:defRPr sz="1562" b="1"/>
            </a:lvl4pPr>
            <a:lvl5pPr marL="1785436" indent="0">
              <a:buNone/>
              <a:defRPr sz="1562" b="1"/>
            </a:lvl5pPr>
            <a:lvl6pPr marL="2231796" indent="0">
              <a:buNone/>
              <a:defRPr sz="1562" b="1"/>
            </a:lvl6pPr>
            <a:lvl7pPr marL="2678153" indent="0">
              <a:buNone/>
              <a:defRPr sz="1562" b="1"/>
            </a:lvl7pPr>
            <a:lvl8pPr marL="3124514" indent="0">
              <a:buNone/>
              <a:defRPr sz="1562" b="1"/>
            </a:lvl8pPr>
            <a:lvl9pPr marL="3570873" indent="0">
              <a:buNone/>
              <a:defRPr sz="1562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25362502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Doble columna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2 Marcador de contenido"/>
          <p:cNvSpPr>
            <a:spLocks noGrp="1"/>
          </p:cNvSpPr>
          <p:nvPr>
            <p:ph sz="half" idx="13"/>
          </p:nvPr>
        </p:nvSpPr>
        <p:spPr>
          <a:xfrm>
            <a:off x="6233636" y="1600203"/>
            <a:ext cx="5397581" cy="4525963"/>
          </a:xfrm>
          <a:prstGeom prst="rect">
            <a:avLst/>
          </a:prstGeom>
        </p:spPr>
        <p:txBody>
          <a:bodyPr/>
          <a:lstStyle>
            <a:lvl1pPr marL="457189" indent="-457189"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66773" indent="-457189">
              <a:buClr>
                <a:schemeClr val="tx2"/>
              </a:buClr>
              <a:buFont typeface="Courier New" panose="02070309020205020404" pitchFamily="49" charset="0"/>
              <a:buChar char="o"/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76358" indent="-457189">
              <a:buClr>
                <a:schemeClr val="tx2"/>
              </a:buClr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13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/>
              <a:t>Clique para editar os estilos de texto </a:t>
            </a:r>
            <a:r>
              <a:rPr lang="es-ES" err="1"/>
              <a:t>mestres</a:t>
            </a:r>
            <a:endParaRPr lang="es-ES"/>
          </a:p>
          <a:p>
            <a:pPr lvl="1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2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3"/>
            <a:r>
              <a:rPr lang="es-ES" err="1"/>
              <a:t>Adiconar</a:t>
            </a:r>
            <a:r>
              <a:rPr lang="es-ES"/>
              <a:t> texto</a:t>
            </a:r>
          </a:p>
        </p:txBody>
      </p:sp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2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1"/>
          </p:nvPr>
        </p:nvSpPr>
        <p:spPr>
          <a:xfrm>
            <a:off x="1391479" y="644690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  <p:sp>
        <p:nvSpPr>
          <p:cNvPr id="9" name="2 Marcador de contenido"/>
          <p:cNvSpPr>
            <a:spLocks noGrp="1"/>
          </p:cNvSpPr>
          <p:nvPr>
            <p:ph sz="half" idx="12"/>
          </p:nvPr>
        </p:nvSpPr>
        <p:spPr>
          <a:xfrm>
            <a:off x="596819" y="1600203"/>
            <a:ext cx="5397581" cy="4525963"/>
          </a:xfrm>
          <a:prstGeom prst="rect">
            <a:avLst/>
          </a:prstGeom>
        </p:spPr>
        <p:txBody>
          <a:bodyPr/>
          <a:lstStyle>
            <a:lvl1pPr marL="457189" indent="-457189"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66773" indent="-457189">
              <a:buClr>
                <a:schemeClr val="tx2"/>
              </a:buClr>
              <a:buFont typeface="Courier New" panose="02070309020205020404" pitchFamily="49" charset="0"/>
              <a:buChar char="o"/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76358" indent="-457189">
              <a:buClr>
                <a:schemeClr val="tx2"/>
              </a:buClr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13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/>
              <a:t>Clique para editar os estilos de texto </a:t>
            </a:r>
            <a:r>
              <a:rPr lang="es-ES" err="1"/>
              <a:t>mestres</a:t>
            </a:r>
            <a:endParaRPr lang="es-ES"/>
          </a:p>
          <a:p>
            <a:pPr lvl="1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2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3"/>
            <a:r>
              <a:rPr lang="es-ES" err="1"/>
              <a:t>Adiconar</a:t>
            </a:r>
            <a:r>
              <a:rPr lang="es-ES"/>
              <a:t> texto</a:t>
            </a:r>
          </a:p>
        </p:txBody>
      </p:sp>
    </p:spTree>
    <p:extLst>
      <p:ext uri="{BB962C8B-B14F-4D97-AF65-F5344CB8AC3E}">
        <p14:creationId xmlns:p14="http://schemas.microsoft.com/office/powerpoint/2010/main" val="311377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Cuadro d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2 Marcador de contenido"/>
          <p:cNvSpPr>
            <a:spLocks noGrp="1"/>
          </p:cNvSpPr>
          <p:nvPr>
            <p:ph sz="half" idx="11"/>
          </p:nvPr>
        </p:nvSpPr>
        <p:spPr>
          <a:xfrm>
            <a:off x="583028" y="1580134"/>
            <a:ext cx="10999373" cy="4525963"/>
          </a:xfrm>
          <a:prstGeom prst="rect">
            <a:avLst/>
          </a:prstGeom>
        </p:spPr>
        <p:txBody>
          <a:bodyPr vert="vert"/>
          <a:lstStyle>
            <a:lvl1pPr marL="334768" indent="-334768">
              <a:buSzPct val="100000"/>
              <a:buFont typeface="Arial" panose="020B0604020202020204" pitchFamily="34" charset="0"/>
              <a:buChar char="•"/>
              <a:defRPr sz="234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81129" indent="-334768">
              <a:buClr>
                <a:schemeClr val="tx2"/>
              </a:buClr>
              <a:buFont typeface="Courier New" panose="02070309020205020404" pitchFamily="49" charset="0"/>
              <a:buChar char="o"/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27487" indent="-334768">
              <a:buClr>
                <a:schemeClr val="tx2"/>
              </a:buClr>
              <a:buFont typeface="Wingdings" panose="05000000000000000000" pitchFamily="2" charset="2"/>
              <a:buChar char="§"/>
              <a:defRPr sz="175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156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757"/>
            </a:lvl6pPr>
            <a:lvl7pPr>
              <a:defRPr sz="1757"/>
            </a:lvl7pPr>
            <a:lvl8pPr>
              <a:defRPr sz="1757"/>
            </a:lvl8pPr>
            <a:lvl9pPr>
              <a:defRPr sz="1757"/>
            </a:lvl9pPr>
          </a:lstStyle>
          <a:p>
            <a:pPr lvl="0"/>
            <a:r>
              <a:rPr lang="es-ES"/>
              <a:t>Clique para editar os estilos de texto mestres</a:t>
            </a:r>
          </a:p>
          <a:p>
            <a:pPr lvl="1"/>
            <a:r>
              <a:rPr lang="es-ES"/>
              <a:t>Segundo nível</a:t>
            </a:r>
          </a:p>
          <a:p>
            <a:pPr lvl="2"/>
            <a:r>
              <a:rPr lang="es-ES"/>
              <a:t>Terceiro nível</a:t>
            </a:r>
          </a:p>
          <a:p>
            <a:pPr lvl="3"/>
            <a:r>
              <a:rPr lang="es-ES"/>
              <a:t>Quarto nível</a:t>
            </a:r>
          </a:p>
        </p:txBody>
      </p:sp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623394" y="11663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0"/>
          </p:nvPr>
        </p:nvSpPr>
        <p:spPr>
          <a:xfrm>
            <a:off x="1583505" y="548681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8927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343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46361" indent="0">
              <a:buNone/>
              <a:defRPr sz="1952" b="1"/>
            </a:lvl2pPr>
            <a:lvl3pPr marL="892718" indent="0">
              <a:buNone/>
              <a:defRPr sz="1757" b="1"/>
            </a:lvl3pPr>
            <a:lvl4pPr marL="1339078" indent="0">
              <a:buNone/>
              <a:defRPr sz="1562" b="1"/>
            </a:lvl4pPr>
            <a:lvl5pPr marL="1785436" indent="0">
              <a:buNone/>
              <a:defRPr sz="1562" b="1"/>
            </a:lvl5pPr>
            <a:lvl6pPr marL="2231796" indent="0">
              <a:buNone/>
              <a:defRPr sz="1562" b="1"/>
            </a:lvl6pPr>
            <a:lvl7pPr marL="2678153" indent="0">
              <a:buNone/>
              <a:defRPr sz="1562" b="1"/>
            </a:lvl7pPr>
            <a:lvl8pPr marL="3124514" indent="0">
              <a:buNone/>
              <a:defRPr sz="1562" b="1"/>
            </a:lvl8pPr>
            <a:lvl9pPr marL="3570873" indent="0">
              <a:buNone/>
              <a:defRPr sz="1562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35042138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terior - Niveles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239350" y="68629"/>
            <a:ext cx="11809312" cy="338555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l">
              <a:defRPr sz="2148" b="1">
                <a:solidFill>
                  <a:schemeClr val="accent6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s-ES" altLang="es-ES"/>
              <a:t>Clique para editar estilo do título </a:t>
            </a:r>
            <a:r>
              <a:rPr lang="es-ES" altLang="es-ES" err="1"/>
              <a:t>mestre</a:t>
            </a:r>
            <a:endParaRPr lang="es-ES" altLang="es-ES"/>
          </a:p>
        </p:txBody>
      </p:sp>
    </p:spTree>
    <p:extLst>
      <p:ext uri="{BB962C8B-B14F-4D97-AF65-F5344CB8AC3E}">
        <p14:creationId xmlns:p14="http://schemas.microsoft.com/office/powerpoint/2010/main" val="27466242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AZUL PROYECTAB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59 Grupo"/>
          <p:cNvGrpSpPr>
            <a:grpSpLocks/>
          </p:cNvGrpSpPr>
          <p:nvPr userDrawn="1"/>
        </p:nvGrpSpPr>
        <p:grpSpPr bwMode="auto">
          <a:xfrm>
            <a:off x="10496553" y="910167"/>
            <a:ext cx="575733" cy="215900"/>
            <a:chOff x="971600" y="4149080"/>
            <a:chExt cx="1440160" cy="720080"/>
          </a:xfrm>
        </p:grpSpPr>
        <p:sp>
          <p:nvSpPr>
            <p:cNvPr id="3" name="24 Triángulo isósceles"/>
            <p:cNvSpPr/>
            <p:nvPr/>
          </p:nvSpPr>
          <p:spPr>
            <a:xfrm rot="10800000" flipV="1">
              <a:off x="97160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9167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734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ill Sans" charset="0"/>
              </a:endParaRPr>
            </a:p>
          </p:txBody>
        </p:sp>
        <p:sp>
          <p:nvSpPr>
            <p:cNvPr id="4" name="24 Triángulo isósceles"/>
            <p:cNvSpPr/>
            <p:nvPr/>
          </p:nvSpPr>
          <p:spPr>
            <a:xfrm rot="10800000">
              <a:off x="169168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9167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734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ill Sans" charset="0"/>
              </a:endParaRPr>
            </a:p>
          </p:txBody>
        </p:sp>
      </p:grp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308" y="751417"/>
            <a:ext cx="2597151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5 Rectángulo"/>
          <p:cNvSpPr/>
          <p:nvPr userDrawn="1"/>
        </p:nvSpPr>
        <p:spPr>
          <a:xfrm>
            <a:off x="359840" y="332325"/>
            <a:ext cx="11476566" cy="6195483"/>
          </a:xfrm>
          <a:prstGeom prst="rect">
            <a:avLst/>
          </a:prstGeom>
          <a:noFill/>
          <a:ln w="444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67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2734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599233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009134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 AZUL PROYECTAB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66 Grupo"/>
          <p:cNvGrpSpPr>
            <a:grpSpLocks/>
          </p:cNvGrpSpPr>
          <p:nvPr userDrawn="1"/>
        </p:nvGrpSpPr>
        <p:grpSpPr bwMode="auto">
          <a:xfrm rot="-5400000">
            <a:off x="4980519" y="3213103"/>
            <a:ext cx="647700" cy="431801"/>
            <a:chOff x="971600" y="4149080"/>
            <a:chExt cx="1440160" cy="720080"/>
          </a:xfrm>
        </p:grpSpPr>
        <p:sp>
          <p:nvSpPr>
            <p:cNvPr id="3" name="24 Triángulo isósceles"/>
            <p:cNvSpPr/>
            <p:nvPr/>
          </p:nvSpPr>
          <p:spPr>
            <a:xfrm rot="10800000" flipV="1">
              <a:off x="1084555" y="4142022"/>
              <a:ext cx="720081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762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9167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863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ill Sans" charset="0"/>
              </a:endParaRPr>
            </a:p>
          </p:txBody>
        </p:sp>
        <p:sp>
          <p:nvSpPr>
            <p:cNvPr id="4" name="24 Triángulo isósceles"/>
            <p:cNvSpPr/>
            <p:nvPr/>
          </p:nvSpPr>
          <p:spPr>
            <a:xfrm rot="10800000">
              <a:off x="1814048" y="4149080"/>
              <a:ext cx="720079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762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9167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863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209765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Interior - Niveles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239350" y="68628"/>
            <a:ext cx="11809312" cy="451405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l">
              <a:defRPr sz="2865" b="1">
                <a:solidFill>
                  <a:schemeClr val="accent6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s-ES" altLang="es-ES"/>
              <a:t>Clique para editar estilo do título </a:t>
            </a:r>
            <a:r>
              <a:rPr lang="es-ES" altLang="es-ES" err="1"/>
              <a:t>mestre</a:t>
            </a:r>
            <a:endParaRPr lang="es-ES" altLang="es-ES"/>
          </a:p>
        </p:txBody>
      </p:sp>
    </p:spTree>
    <p:extLst>
      <p:ext uri="{BB962C8B-B14F-4D97-AF65-F5344CB8AC3E}">
        <p14:creationId xmlns:p14="http://schemas.microsoft.com/office/powerpoint/2010/main" val="83717170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92202" y="476159"/>
            <a:ext cx="11226134" cy="401925"/>
          </a:xfrm>
          <a:prstGeom prst="rect">
            <a:avLst/>
          </a:prstGeom>
          <a:noFill/>
        </p:spPr>
        <p:txBody>
          <a:bodyPr wrap="square" lIns="87779" tIns="43890" rIns="87779" bIns="43890" rtlCol="0">
            <a:spAutoFit/>
          </a:bodyPr>
          <a:lstStyle>
            <a:lvl1pPr>
              <a:defRPr lang="en-US" sz="2034" i="1" dirty="0" smtClean="0">
                <a:solidFill>
                  <a:prstClr val="black"/>
                </a:solidFill>
                <a:latin typeface="Calibri"/>
                <a:ea typeface="MS PGothic" panose="020B0600070205080204" pitchFamily="34" charset="-128"/>
              </a:defRPr>
            </a:lvl1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92202" y="11723"/>
            <a:ext cx="11225781" cy="601727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4"/>
          </p:nvPr>
        </p:nvSpPr>
        <p:spPr>
          <a:xfrm>
            <a:off x="1731436" y="6356352"/>
            <a:ext cx="2745317" cy="36406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677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E822E670-379A-46D0-A49A-44D6AEE48F6A}" type="datetime1">
              <a:rPr lang="pt-BR" smtClean="0">
                <a:solidFill>
                  <a:srgbClr val="008597">
                    <a:tint val="75000"/>
                  </a:srgbClr>
                </a:solidFill>
                <a:ea typeface="ヒラギノ角ゴ ProN W3" charset="-128"/>
                <a:sym typeface="Gill Sans" charset="0"/>
              </a:rPr>
              <a:pPr defTabSz="91677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27/10/2017</a:t>
            </a:fld>
            <a:endParaRPr lang="pt-BR">
              <a:solidFill>
                <a:srgbClr val="008597">
                  <a:tint val="75000"/>
                </a:srgbClr>
              </a:solidFill>
              <a:ea typeface="ヒラギノ角ゴ ProN W3" charset="-128"/>
              <a:sym typeface="Gill Sans" charset="0"/>
            </a:endParaRP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5"/>
          </p:nvPr>
        </p:nvSpPr>
        <p:spPr>
          <a:xfrm>
            <a:off x="4610100" y="6356352"/>
            <a:ext cx="6019800" cy="36406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677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>
              <a:solidFill>
                <a:srgbClr val="008597">
                  <a:tint val="75000"/>
                </a:srgbClr>
              </a:solidFill>
              <a:ea typeface="ヒラギノ角ゴ ProN W3" charset="-128"/>
              <a:sym typeface="Gill Sans" charset="0"/>
            </a:endParaRPr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151469" y="6356352"/>
            <a:ext cx="446617" cy="36406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677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2DC69B8F-07D9-4495-B39D-E7895448307B}" type="slidenum">
              <a:rPr lang="pt-BR" smtClean="0">
                <a:solidFill>
                  <a:srgbClr val="008597">
                    <a:tint val="75000"/>
                  </a:srgbClr>
                </a:solidFill>
                <a:ea typeface="ヒラギノ角ゴ ProN W3" charset="-128"/>
                <a:sym typeface="Gill Sans" charset="0"/>
              </a:rPr>
              <a:pPr defTabSz="91677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>
              <a:solidFill>
                <a:srgbClr val="008597">
                  <a:tint val="75000"/>
                </a:srgbClr>
              </a:solidFill>
              <a:ea typeface="ヒラギノ角ゴ ProN W3" charset="-128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03348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 - 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31372" y="-3382"/>
            <a:ext cx="11760629" cy="648072"/>
          </a:xfrm>
          <a:prstGeom prst="rect">
            <a:avLst/>
          </a:prstGeom>
          <a:ln>
            <a:noFill/>
          </a:ln>
        </p:spPr>
        <p:txBody>
          <a:bodyPr lIns="91434" tIns="45717" rIns="91434" bIns="45717"/>
          <a:lstStyle>
            <a:lvl1pPr algn="l">
              <a:defRPr sz="4168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152187720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AMARILLO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D:\PROYECTOS\PLANTILLAS\PLANTILLAS PPT\Propuesta plantillas referencia\paso a PPT\Recursos\ESCOLHEMOS TUDO\TUDO AZUL AMARILLO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5685" y="5822952"/>
            <a:ext cx="2207682" cy="18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2 Rectángulo"/>
          <p:cNvSpPr/>
          <p:nvPr userDrawn="1"/>
        </p:nvSpPr>
        <p:spPr>
          <a:xfrm>
            <a:off x="334434" y="332318"/>
            <a:ext cx="11523133" cy="6167967"/>
          </a:xfrm>
          <a:prstGeom prst="rect">
            <a:avLst/>
          </a:prstGeom>
          <a:noFill/>
          <a:ln w="4445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67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477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Gill Sans" charset="0"/>
            </a:endParaRPr>
          </a:p>
        </p:txBody>
      </p:sp>
      <p:pic>
        <p:nvPicPr>
          <p:cNvPr id="4" name="Picture 6" descr="D:\PROYECTOS\RECURSOS\TELEFÓNICA\LOGOS Telefónica\TEL logo_pos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300" y="548218"/>
            <a:ext cx="3361267" cy="1246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D:\PROYECTOS\PLANTILLAS\PLANTILLAS PPT\Propuesta plantillas referencia\paso a PPT\Recursos\CUBO\desplegable-cubo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5385" y="4004734"/>
            <a:ext cx="1871133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73480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VERDE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D:\PROYECTOS\PLANTILLAS\PLANTILLAS PPT\Propuesta plantillas referencia\paso a PPT\Recursos\ESCOLHEMOS TUDO\TUDO AZUL VERD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5685" y="5822952"/>
            <a:ext cx="2207682" cy="18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2 Rectángulo"/>
          <p:cNvSpPr/>
          <p:nvPr userDrawn="1"/>
        </p:nvSpPr>
        <p:spPr>
          <a:xfrm>
            <a:off x="334434" y="332318"/>
            <a:ext cx="11523133" cy="6167967"/>
          </a:xfrm>
          <a:prstGeom prst="rect">
            <a:avLst/>
          </a:prstGeom>
          <a:noFill/>
          <a:ln w="4445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67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477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Gill Sans" charset="0"/>
            </a:endParaRPr>
          </a:p>
        </p:txBody>
      </p:sp>
      <p:pic>
        <p:nvPicPr>
          <p:cNvPr id="4" name="Picture 6" descr="D:\PROYECTOS\RECURSOS\TELEFÓNICA\LOGOS Telefónica\TEL logo_pos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300" y="548218"/>
            <a:ext cx="3361267" cy="1246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D:\PROYECTOS\PLANTILLAS\PLANTILLAS PPT\Propuesta plantillas referencia\paso a PPT\Recursos\CUBO\desplegable-cubo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5385" y="4004734"/>
            <a:ext cx="1871133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78719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Cuadro d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2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0"/>
          </p:nvPr>
        </p:nvSpPr>
        <p:spPr>
          <a:xfrm>
            <a:off x="1391479" y="644690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67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  <p:sp>
        <p:nvSpPr>
          <p:cNvPr id="7" name="2 Marcador de contenido"/>
          <p:cNvSpPr>
            <a:spLocks noGrp="1"/>
          </p:cNvSpPr>
          <p:nvPr>
            <p:ph sz="half" idx="11"/>
          </p:nvPr>
        </p:nvSpPr>
        <p:spPr>
          <a:xfrm>
            <a:off x="609600" y="1600203"/>
            <a:ext cx="10999373" cy="4525963"/>
          </a:xfrm>
          <a:prstGeom prst="rect">
            <a:avLst/>
          </a:prstGeom>
        </p:spPr>
        <p:txBody>
          <a:bodyPr vert="vert"/>
          <a:lstStyle>
            <a:lvl1pPr marL="457189" indent="-457189"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66773" indent="-457189">
              <a:buClr>
                <a:schemeClr val="tx2"/>
              </a:buClr>
              <a:buFont typeface="Courier New" panose="02070309020205020404" pitchFamily="49" charset="0"/>
              <a:buChar char="o"/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76358" indent="-457189">
              <a:buClr>
                <a:schemeClr val="tx2"/>
              </a:buClr>
              <a:buFont typeface="Wingdings" panose="05000000000000000000" pitchFamily="2" charset="2"/>
              <a:buChar char="§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13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/>
              <a:t>Clique para editar os estilos de texto </a:t>
            </a:r>
            <a:r>
              <a:rPr lang="es-ES" err="1"/>
              <a:t>mestres</a:t>
            </a:r>
            <a:endParaRPr lang="es-ES"/>
          </a:p>
          <a:p>
            <a:pPr lvl="1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2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3"/>
            <a:r>
              <a:rPr lang="es-ES" err="1"/>
              <a:t>Adiconar</a:t>
            </a:r>
            <a:r>
              <a:rPr lang="es-ES"/>
              <a:t> texto</a:t>
            </a:r>
          </a:p>
        </p:txBody>
      </p:sp>
    </p:spTree>
    <p:extLst>
      <p:ext uri="{BB962C8B-B14F-4D97-AF65-F5344CB8AC3E}">
        <p14:creationId xmlns:p14="http://schemas.microsoft.com/office/powerpoint/2010/main" val="380440128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NARANJA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D:\PROYECTOS\PLANTILLAS\PLANTILLAS PPT\Propuesta plantillas referencia\paso a PPT\Recursos\ESCOLHEMOS TUDO\TUDO AZUL NARANJA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5685" y="5822952"/>
            <a:ext cx="2207682" cy="18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2 Rectángulo"/>
          <p:cNvSpPr/>
          <p:nvPr userDrawn="1"/>
        </p:nvSpPr>
        <p:spPr>
          <a:xfrm>
            <a:off x="334434" y="332318"/>
            <a:ext cx="11523133" cy="6167967"/>
          </a:xfrm>
          <a:prstGeom prst="rect">
            <a:avLst/>
          </a:prstGeom>
          <a:noFill/>
          <a:ln w="4445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67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477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Gill Sans" charset="0"/>
            </a:endParaRPr>
          </a:p>
        </p:txBody>
      </p:sp>
      <p:pic>
        <p:nvPicPr>
          <p:cNvPr id="4" name="Picture 6" descr="D:\PROYECTOS\RECURSOS\TELEFÓNICA\LOGOS Telefónica\TEL logo_pos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300" y="548218"/>
            <a:ext cx="3361267" cy="1246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D:\PROYECTOS\PLANTILLAS\PLANTILLAS PPT\Propuesta plantillas referencia\paso a PPT\Recursos\CUBO\desplegable-cubo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5385" y="4004734"/>
            <a:ext cx="1871133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39275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AZUL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D:\PROYECTOS\PLANTILLAS\PLANTILLAS PPT\Propuesta plantillas referencia\paso a PPT\Recursos\ESCOLHEMOS TUDO\TUDO AZUL AZUL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5685" y="5822952"/>
            <a:ext cx="2207682" cy="18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2 Rectángulo"/>
          <p:cNvSpPr/>
          <p:nvPr userDrawn="1"/>
        </p:nvSpPr>
        <p:spPr>
          <a:xfrm>
            <a:off x="334434" y="332318"/>
            <a:ext cx="11523133" cy="6167967"/>
          </a:xfrm>
          <a:prstGeom prst="rect">
            <a:avLst/>
          </a:prstGeom>
          <a:noFill/>
          <a:ln w="4445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67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477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Gill Sans" charset="0"/>
            </a:endParaRPr>
          </a:p>
        </p:txBody>
      </p:sp>
      <p:pic>
        <p:nvPicPr>
          <p:cNvPr id="4" name="Picture 6" descr="D:\PROYECTOS\RECURSOS\TELEFÓNICA\LOGOS Telefónica\TEL logo_pos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300" y="548218"/>
            <a:ext cx="3361267" cy="1246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D:\PROYECTOS\PLANTILLAS\PLANTILLAS PPT\Propuesta plantillas referencia\paso a PPT\Recursos\CUBO\desplegable-cubo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5385" y="4004734"/>
            <a:ext cx="1871133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25951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FUXIA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D:\PROYECTOS\PLANTILLAS\PLANTILLAS PPT\Propuesta plantillas referencia\paso a PPT\Recursos\ESCOLHEMOS TUDO\TUDO AZUL FUXIA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5685" y="5816601"/>
            <a:ext cx="2207682" cy="18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2 Rectángulo"/>
          <p:cNvSpPr/>
          <p:nvPr userDrawn="1"/>
        </p:nvSpPr>
        <p:spPr>
          <a:xfrm>
            <a:off x="334434" y="332318"/>
            <a:ext cx="11523133" cy="6167967"/>
          </a:xfrm>
          <a:prstGeom prst="rect">
            <a:avLst/>
          </a:prstGeom>
          <a:noFill/>
          <a:ln w="444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67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477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Gill Sans" charset="0"/>
            </a:endParaRPr>
          </a:p>
        </p:txBody>
      </p:sp>
      <p:pic>
        <p:nvPicPr>
          <p:cNvPr id="4" name="Picture 6" descr="D:\PROYECTOS\RECURSOS\TELEFÓNICA\LOGOS Telefónica\TEL logo_pos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300" y="548218"/>
            <a:ext cx="3361267" cy="1246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D:\PROYECTOS\PLANTILLAS\PLANTILLAS PPT\Propuesta plantillas referencia\paso a PPT\Recursos\CUBO\desplegable-cubo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5385" y="4004734"/>
            <a:ext cx="1871133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149386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87587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Título más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31371" y="-338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168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0"/>
          </p:nvPr>
        </p:nvSpPr>
        <p:spPr>
          <a:xfrm>
            <a:off x="1391479" y="644691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190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05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95493" indent="0">
              <a:buNone/>
              <a:defRPr sz="2605" b="1"/>
            </a:lvl2pPr>
            <a:lvl3pPr marL="1190986" indent="0">
              <a:buNone/>
              <a:defRPr sz="2344" b="1"/>
            </a:lvl3pPr>
            <a:lvl4pPr marL="1786479" indent="0">
              <a:buNone/>
              <a:defRPr sz="2084" b="1"/>
            </a:lvl4pPr>
            <a:lvl5pPr marL="2381971" indent="0">
              <a:buNone/>
              <a:defRPr sz="2084" b="1"/>
            </a:lvl5pPr>
            <a:lvl6pPr marL="2977464" indent="0">
              <a:buNone/>
              <a:defRPr sz="2084" b="1"/>
            </a:lvl6pPr>
            <a:lvl7pPr marL="3572957" indent="0">
              <a:buNone/>
              <a:defRPr sz="2084" b="1"/>
            </a:lvl7pPr>
            <a:lvl8pPr marL="4168450" indent="0">
              <a:buNone/>
              <a:defRPr sz="2084" b="1"/>
            </a:lvl8pPr>
            <a:lvl9pPr marL="4763942" indent="0">
              <a:buNone/>
              <a:defRPr sz="2084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46432648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ior -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2 Marcador de contenido"/>
          <p:cNvSpPr>
            <a:spLocks noGrp="1"/>
          </p:cNvSpPr>
          <p:nvPr>
            <p:ph sz="half" idx="11"/>
          </p:nvPr>
        </p:nvSpPr>
        <p:spPr>
          <a:xfrm>
            <a:off x="596819" y="1365387"/>
            <a:ext cx="10999373" cy="4525963"/>
          </a:xfrm>
          <a:prstGeom prst="rect">
            <a:avLst/>
          </a:prstGeom>
        </p:spPr>
        <p:txBody>
          <a:bodyPr/>
          <a:lstStyle>
            <a:lvl1pPr>
              <a:defRPr sz="234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605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605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605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605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344"/>
            </a:lvl6pPr>
            <a:lvl7pPr>
              <a:defRPr sz="2344"/>
            </a:lvl7pPr>
            <a:lvl8pPr>
              <a:defRPr sz="2344"/>
            </a:lvl8pPr>
            <a:lvl9pPr>
              <a:defRPr sz="2344"/>
            </a:lvl9pPr>
          </a:lstStyle>
          <a:p>
            <a:pPr lvl="0"/>
            <a:endParaRPr lang="es-ES"/>
          </a:p>
        </p:txBody>
      </p:sp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431371" y="-338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168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4" name="2 Marcador de texto"/>
          <p:cNvSpPr>
            <a:spLocks noGrp="1"/>
          </p:cNvSpPr>
          <p:nvPr>
            <p:ph type="body" idx="10"/>
          </p:nvPr>
        </p:nvSpPr>
        <p:spPr>
          <a:xfrm>
            <a:off x="1391479" y="644691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190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05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95493" indent="0">
              <a:buNone/>
              <a:defRPr sz="2605" b="1"/>
            </a:lvl2pPr>
            <a:lvl3pPr marL="1190986" indent="0">
              <a:buNone/>
              <a:defRPr sz="2344" b="1"/>
            </a:lvl3pPr>
            <a:lvl4pPr marL="1786479" indent="0">
              <a:buNone/>
              <a:defRPr sz="2084" b="1"/>
            </a:lvl4pPr>
            <a:lvl5pPr marL="2381971" indent="0">
              <a:buNone/>
              <a:defRPr sz="2084" b="1"/>
            </a:lvl5pPr>
            <a:lvl6pPr marL="2977464" indent="0">
              <a:buNone/>
              <a:defRPr sz="2084" b="1"/>
            </a:lvl6pPr>
            <a:lvl7pPr marL="3572957" indent="0">
              <a:buNone/>
              <a:defRPr sz="2084" b="1"/>
            </a:lvl7pPr>
            <a:lvl8pPr marL="4168450" indent="0">
              <a:buNone/>
              <a:defRPr sz="2084" b="1"/>
            </a:lvl8pPr>
            <a:lvl9pPr marL="4763942" indent="0">
              <a:buNone/>
              <a:defRPr sz="2084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16534378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Niveles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>
            <a:spLocks noGrp="1"/>
          </p:cNvSpPr>
          <p:nvPr>
            <p:ph sz="half" idx="12"/>
          </p:nvPr>
        </p:nvSpPr>
        <p:spPr>
          <a:xfrm>
            <a:off x="596819" y="1383066"/>
            <a:ext cx="10842379" cy="4508284"/>
          </a:xfrm>
          <a:prstGeom prst="rect">
            <a:avLst/>
          </a:prstGeom>
        </p:spPr>
        <p:txBody>
          <a:bodyPr/>
          <a:lstStyle>
            <a:lvl1pPr marL="446619" indent="-446619">
              <a:buSzPct val="100000"/>
              <a:buFont typeface="Arial" panose="020B0604020202020204" pitchFamily="34" charset="0"/>
              <a:buChar char="•"/>
              <a:defRPr sz="3126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42112" indent="-446619">
              <a:buClr>
                <a:schemeClr val="tx2"/>
              </a:buClr>
              <a:buFont typeface="Courier New" panose="02070309020205020404" pitchFamily="49" charset="0"/>
              <a:buChar char="o"/>
              <a:defRPr sz="2605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37605" indent="-446619">
              <a:buClr>
                <a:schemeClr val="tx2"/>
              </a:buClr>
              <a:buFont typeface="Wingdings" panose="05000000000000000000" pitchFamily="2" charset="2"/>
              <a:buChar char="§"/>
              <a:defRPr sz="234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08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05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344"/>
            </a:lvl6pPr>
            <a:lvl7pPr>
              <a:defRPr sz="2344"/>
            </a:lvl7pPr>
            <a:lvl8pPr>
              <a:defRPr sz="2344"/>
            </a:lvl8pPr>
            <a:lvl9pPr>
              <a:defRPr sz="2344"/>
            </a:lvl9pPr>
          </a:lstStyle>
          <a:p>
            <a:pPr lvl="0"/>
            <a:r>
              <a:rPr lang="es-ES"/>
              <a:t>Clique para editar os estilos de texto </a:t>
            </a:r>
            <a:r>
              <a:rPr lang="es-ES" err="1"/>
              <a:t>mestres</a:t>
            </a:r>
            <a:endParaRPr lang="es-ES"/>
          </a:p>
          <a:p>
            <a:pPr lvl="1"/>
            <a:r>
              <a:rPr lang="es-ES"/>
              <a:t>Adicionar texto</a:t>
            </a:r>
          </a:p>
          <a:p>
            <a:pPr lvl="2"/>
            <a:r>
              <a:rPr lang="es-ES"/>
              <a:t>Adicionar texto</a:t>
            </a:r>
          </a:p>
          <a:p>
            <a:pPr lvl="3"/>
            <a:r>
              <a:rPr lang="es-ES"/>
              <a:t>Adicionar texto</a:t>
            </a:r>
          </a:p>
        </p:txBody>
      </p:sp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431371" y="-338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168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4" name="2 Marcador de texto"/>
          <p:cNvSpPr>
            <a:spLocks noGrp="1"/>
          </p:cNvSpPr>
          <p:nvPr>
            <p:ph type="body" idx="10"/>
          </p:nvPr>
        </p:nvSpPr>
        <p:spPr>
          <a:xfrm>
            <a:off x="1391479" y="644691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190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05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95493" indent="0">
              <a:buNone/>
              <a:defRPr sz="2605" b="1"/>
            </a:lvl2pPr>
            <a:lvl3pPr marL="1190986" indent="0">
              <a:buNone/>
              <a:defRPr sz="2344" b="1"/>
            </a:lvl3pPr>
            <a:lvl4pPr marL="1786479" indent="0">
              <a:buNone/>
              <a:defRPr sz="2084" b="1"/>
            </a:lvl4pPr>
            <a:lvl5pPr marL="2381971" indent="0">
              <a:buNone/>
              <a:defRPr sz="2084" b="1"/>
            </a:lvl5pPr>
            <a:lvl6pPr marL="2977464" indent="0">
              <a:buNone/>
              <a:defRPr sz="2084" b="1"/>
            </a:lvl6pPr>
            <a:lvl7pPr marL="3572957" indent="0">
              <a:buNone/>
              <a:defRPr sz="2084" b="1"/>
            </a:lvl7pPr>
            <a:lvl8pPr marL="4168450" indent="0">
              <a:buNone/>
              <a:defRPr sz="2084" b="1"/>
            </a:lvl8pPr>
            <a:lvl9pPr marL="4763942" indent="0">
              <a:buNone/>
              <a:defRPr sz="2084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112421574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Doble columna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2 Marcador de contenido"/>
          <p:cNvSpPr>
            <a:spLocks noGrp="1"/>
          </p:cNvSpPr>
          <p:nvPr>
            <p:ph sz="half" idx="13"/>
          </p:nvPr>
        </p:nvSpPr>
        <p:spPr>
          <a:xfrm>
            <a:off x="6233636" y="1600203"/>
            <a:ext cx="5397581" cy="4525963"/>
          </a:xfrm>
          <a:prstGeom prst="rect">
            <a:avLst/>
          </a:prstGeom>
        </p:spPr>
        <p:txBody>
          <a:bodyPr/>
          <a:lstStyle>
            <a:lvl1pPr marL="446619" indent="-446619">
              <a:buSzPct val="100000"/>
              <a:buFont typeface="Arial" panose="020B0604020202020204" pitchFamily="34" charset="0"/>
              <a:buChar char="•"/>
              <a:defRPr sz="3126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42112" indent="-446619">
              <a:buClr>
                <a:schemeClr val="tx2"/>
              </a:buClr>
              <a:buFont typeface="Courier New" panose="02070309020205020404" pitchFamily="49" charset="0"/>
              <a:buChar char="o"/>
              <a:defRPr sz="2605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37605" indent="-446619">
              <a:buClr>
                <a:schemeClr val="tx2"/>
              </a:buClr>
              <a:buFont typeface="Wingdings" panose="05000000000000000000" pitchFamily="2" charset="2"/>
              <a:buChar char="§"/>
              <a:defRPr sz="234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08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05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344"/>
            </a:lvl6pPr>
            <a:lvl7pPr>
              <a:defRPr sz="2344"/>
            </a:lvl7pPr>
            <a:lvl8pPr>
              <a:defRPr sz="2344"/>
            </a:lvl8pPr>
            <a:lvl9pPr>
              <a:defRPr sz="2344"/>
            </a:lvl9pPr>
          </a:lstStyle>
          <a:p>
            <a:pPr lvl="0"/>
            <a:r>
              <a:rPr lang="es-ES"/>
              <a:t>Clique para editar os estilos de texto </a:t>
            </a:r>
            <a:r>
              <a:rPr lang="es-ES" err="1"/>
              <a:t>mestres</a:t>
            </a:r>
            <a:endParaRPr lang="es-ES"/>
          </a:p>
          <a:p>
            <a:pPr lvl="1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2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3"/>
            <a:r>
              <a:rPr lang="es-ES" err="1"/>
              <a:t>Adiconar</a:t>
            </a:r>
            <a:r>
              <a:rPr lang="es-ES"/>
              <a:t> texto</a:t>
            </a:r>
          </a:p>
        </p:txBody>
      </p:sp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31371" y="-338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168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1"/>
          </p:nvPr>
        </p:nvSpPr>
        <p:spPr>
          <a:xfrm>
            <a:off x="1391479" y="644691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190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05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95493" indent="0">
              <a:buNone/>
              <a:defRPr sz="2605" b="1"/>
            </a:lvl2pPr>
            <a:lvl3pPr marL="1190986" indent="0">
              <a:buNone/>
              <a:defRPr sz="2344" b="1"/>
            </a:lvl3pPr>
            <a:lvl4pPr marL="1786479" indent="0">
              <a:buNone/>
              <a:defRPr sz="2084" b="1"/>
            </a:lvl4pPr>
            <a:lvl5pPr marL="2381971" indent="0">
              <a:buNone/>
              <a:defRPr sz="2084" b="1"/>
            </a:lvl5pPr>
            <a:lvl6pPr marL="2977464" indent="0">
              <a:buNone/>
              <a:defRPr sz="2084" b="1"/>
            </a:lvl6pPr>
            <a:lvl7pPr marL="3572957" indent="0">
              <a:buNone/>
              <a:defRPr sz="2084" b="1"/>
            </a:lvl7pPr>
            <a:lvl8pPr marL="4168450" indent="0">
              <a:buNone/>
              <a:defRPr sz="2084" b="1"/>
            </a:lvl8pPr>
            <a:lvl9pPr marL="4763942" indent="0">
              <a:buNone/>
              <a:defRPr sz="2084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  <p:sp>
        <p:nvSpPr>
          <p:cNvPr id="9" name="2 Marcador de contenido"/>
          <p:cNvSpPr>
            <a:spLocks noGrp="1"/>
          </p:cNvSpPr>
          <p:nvPr>
            <p:ph sz="half" idx="12"/>
          </p:nvPr>
        </p:nvSpPr>
        <p:spPr>
          <a:xfrm>
            <a:off x="596819" y="1600203"/>
            <a:ext cx="5397581" cy="4525963"/>
          </a:xfrm>
          <a:prstGeom prst="rect">
            <a:avLst/>
          </a:prstGeom>
        </p:spPr>
        <p:txBody>
          <a:bodyPr/>
          <a:lstStyle>
            <a:lvl1pPr marL="446619" indent="-446619">
              <a:buSzPct val="100000"/>
              <a:buFont typeface="Arial" panose="020B0604020202020204" pitchFamily="34" charset="0"/>
              <a:buChar char="•"/>
              <a:defRPr sz="3126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42112" indent="-446619">
              <a:buClr>
                <a:schemeClr val="tx2"/>
              </a:buClr>
              <a:buFont typeface="Courier New" panose="02070309020205020404" pitchFamily="49" charset="0"/>
              <a:buChar char="o"/>
              <a:defRPr sz="2605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37605" indent="-446619">
              <a:buClr>
                <a:schemeClr val="tx2"/>
              </a:buClr>
              <a:buFont typeface="Wingdings" panose="05000000000000000000" pitchFamily="2" charset="2"/>
              <a:buChar char="§"/>
              <a:defRPr sz="234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08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05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344"/>
            </a:lvl6pPr>
            <a:lvl7pPr>
              <a:defRPr sz="2344"/>
            </a:lvl7pPr>
            <a:lvl8pPr>
              <a:defRPr sz="2344"/>
            </a:lvl8pPr>
            <a:lvl9pPr>
              <a:defRPr sz="2344"/>
            </a:lvl9pPr>
          </a:lstStyle>
          <a:p>
            <a:pPr lvl="0"/>
            <a:r>
              <a:rPr lang="es-ES"/>
              <a:t>Clique para editar os estilos de texto </a:t>
            </a:r>
            <a:r>
              <a:rPr lang="es-ES" err="1"/>
              <a:t>mestres</a:t>
            </a:r>
            <a:endParaRPr lang="es-ES"/>
          </a:p>
          <a:p>
            <a:pPr lvl="1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2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3"/>
            <a:r>
              <a:rPr lang="es-ES" err="1"/>
              <a:t>Adiconar</a:t>
            </a:r>
            <a:r>
              <a:rPr lang="es-ES"/>
              <a:t> texto</a:t>
            </a:r>
          </a:p>
        </p:txBody>
      </p:sp>
    </p:spTree>
    <p:extLst>
      <p:ext uri="{BB962C8B-B14F-4D97-AF65-F5344CB8AC3E}">
        <p14:creationId xmlns:p14="http://schemas.microsoft.com/office/powerpoint/2010/main" val="116953159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Cuadro d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31371" y="-338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168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0"/>
          </p:nvPr>
        </p:nvSpPr>
        <p:spPr>
          <a:xfrm>
            <a:off x="1391479" y="644691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190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05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95493" indent="0">
              <a:buNone/>
              <a:defRPr sz="2605" b="1"/>
            </a:lvl2pPr>
            <a:lvl3pPr marL="1190986" indent="0">
              <a:buNone/>
              <a:defRPr sz="2344" b="1"/>
            </a:lvl3pPr>
            <a:lvl4pPr marL="1786479" indent="0">
              <a:buNone/>
              <a:defRPr sz="2084" b="1"/>
            </a:lvl4pPr>
            <a:lvl5pPr marL="2381971" indent="0">
              <a:buNone/>
              <a:defRPr sz="2084" b="1"/>
            </a:lvl5pPr>
            <a:lvl6pPr marL="2977464" indent="0">
              <a:buNone/>
              <a:defRPr sz="2084" b="1"/>
            </a:lvl6pPr>
            <a:lvl7pPr marL="3572957" indent="0">
              <a:buNone/>
              <a:defRPr sz="2084" b="1"/>
            </a:lvl7pPr>
            <a:lvl8pPr marL="4168450" indent="0">
              <a:buNone/>
              <a:defRPr sz="2084" b="1"/>
            </a:lvl8pPr>
            <a:lvl9pPr marL="4763942" indent="0">
              <a:buNone/>
              <a:defRPr sz="2084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  <p:sp>
        <p:nvSpPr>
          <p:cNvPr id="7" name="2 Marcador de contenido"/>
          <p:cNvSpPr>
            <a:spLocks noGrp="1"/>
          </p:cNvSpPr>
          <p:nvPr>
            <p:ph sz="half" idx="11"/>
          </p:nvPr>
        </p:nvSpPr>
        <p:spPr>
          <a:xfrm>
            <a:off x="609600" y="1600203"/>
            <a:ext cx="10999373" cy="4525963"/>
          </a:xfrm>
          <a:prstGeom prst="rect">
            <a:avLst/>
          </a:prstGeom>
        </p:spPr>
        <p:txBody>
          <a:bodyPr vert="vert"/>
          <a:lstStyle>
            <a:lvl1pPr marL="446619" indent="-446619">
              <a:buSzPct val="100000"/>
              <a:buFont typeface="Arial" panose="020B0604020202020204" pitchFamily="34" charset="0"/>
              <a:buChar char="•"/>
              <a:defRPr sz="3126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42112" indent="-446619">
              <a:buClr>
                <a:schemeClr val="tx2"/>
              </a:buClr>
              <a:buFont typeface="Courier New" panose="02070309020205020404" pitchFamily="49" charset="0"/>
              <a:buChar char="o"/>
              <a:defRPr sz="2605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37605" indent="-446619">
              <a:buClr>
                <a:schemeClr val="tx2"/>
              </a:buClr>
              <a:buFont typeface="Wingdings" panose="05000000000000000000" pitchFamily="2" charset="2"/>
              <a:buChar char="§"/>
              <a:defRPr sz="234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08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05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344"/>
            </a:lvl6pPr>
            <a:lvl7pPr>
              <a:defRPr sz="2344"/>
            </a:lvl7pPr>
            <a:lvl8pPr>
              <a:defRPr sz="2344"/>
            </a:lvl8pPr>
            <a:lvl9pPr>
              <a:defRPr sz="2344"/>
            </a:lvl9pPr>
          </a:lstStyle>
          <a:p>
            <a:pPr lvl="0"/>
            <a:r>
              <a:rPr lang="es-ES"/>
              <a:t>Clique para editar os estilos de texto </a:t>
            </a:r>
            <a:r>
              <a:rPr lang="es-ES" err="1"/>
              <a:t>mestres</a:t>
            </a:r>
            <a:endParaRPr lang="es-ES"/>
          </a:p>
          <a:p>
            <a:pPr lvl="1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2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3"/>
            <a:r>
              <a:rPr lang="es-ES" err="1"/>
              <a:t>Adiconar</a:t>
            </a:r>
            <a:r>
              <a:rPr lang="es-ES"/>
              <a:t> texto</a:t>
            </a:r>
          </a:p>
        </p:txBody>
      </p:sp>
    </p:spTree>
    <p:extLst>
      <p:ext uri="{BB962C8B-B14F-4D97-AF65-F5344CB8AC3E}">
        <p14:creationId xmlns:p14="http://schemas.microsoft.com/office/powerpoint/2010/main" val="75577742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 naranja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Elipse"/>
          <p:cNvSpPr/>
          <p:nvPr userDrawn="1"/>
        </p:nvSpPr>
        <p:spPr>
          <a:xfrm rot="16200000">
            <a:off x="4895851" y="2995085"/>
            <a:ext cx="865716" cy="86571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eaLnBrk="1" hangingPunct="1">
              <a:defRPr/>
            </a:pPr>
            <a:endParaRPr lang="es-ES" sz="2400"/>
          </a:p>
        </p:txBody>
      </p:sp>
      <p:grpSp>
        <p:nvGrpSpPr>
          <p:cNvPr id="3" name="66 Grupo"/>
          <p:cNvGrpSpPr>
            <a:grpSpLocks/>
          </p:cNvGrpSpPr>
          <p:nvPr userDrawn="1"/>
        </p:nvGrpSpPr>
        <p:grpSpPr bwMode="auto">
          <a:xfrm rot="-5400000">
            <a:off x="5090584" y="3285067"/>
            <a:ext cx="575733" cy="287867"/>
            <a:chOff x="971600" y="4149080"/>
            <a:chExt cx="1440160" cy="720080"/>
          </a:xfrm>
        </p:grpSpPr>
        <p:sp>
          <p:nvSpPr>
            <p:cNvPr id="4" name="24 Triángulo isósceles"/>
            <p:cNvSpPr/>
            <p:nvPr/>
          </p:nvSpPr>
          <p:spPr>
            <a:xfrm rot="10800000" flipV="1">
              <a:off x="971600" y="4127901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s-ES" sz="2400"/>
            </a:p>
          </p:txBody>
        </p:sp>
        <p:sp>
          <p:nvSpPr>
            <p:cNvPr id="5" name="24 Triángulo isósceles"/>
            <p:cNvSpPr/>
            <p:nvPr/>
          </p:nvSpPr>
          <p:spPr>
            <a:xfrm rot="10800000">
              <a:off x="1712859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s-ES" sz="2400"/>
            </a:p>
          </p:txBody>
        </p:sp>
      </p:grpSp>
    </p:spTree>
    <p:extLst>
      <p:ext uri="{BB962C8B-B14F-4D97-AF65-F5344CB8AC3E}">
        <p14:creationId xmlns:p14="http://schemas.microsoft.com/office/powerpoint/2010/main" val="14848386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 naranja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Elipse"/>
          <p:cNvSpPr/>
          <p:nvPr userDrawn="1"/>
        </p:nvSpPr>
        <p:spPr>
          <a:xfrm rot="16200000">
            <a:off x="4895851" y="2995085"/>
            <a:ext cx="865716" cy="86571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es-ES" sz="3733">
              <a:solidFill>
                <a:srgbClr val="FFFFFF"/>
              </a:solidFill>
              <a:sym typeface="Gill Sans" charset="0"/>
            </a:endParaRPr>
          </a:p>
        </p:txBody>
      </p:sp>
      <p:grpSp>
        <p:nvGrpSpPr>
          <p:cNvPr id="3" name="66 Grupo"/>
          <p:cNvGrpSpPr>
            <a:grpSpLocks/>
          </p:cNvGrpSpPr>
          <p:nvPr userDrawn="1"/>
        </p:nvGrpSpPr>
        <p:grpSpPr bwMode="auto">
          <a:xfrm rot="-5400000">
            <a:off x="5090584" y="3285067"/>
            <a:ext cx="575733" cy="287867"/>
            <a:chOff x="971600" y="4149080"/>
            <a:chExt cx="1440160" cy="720080"/>
          </a:xfrm>
        </p:grpSpPr>
        <p:sp>
          <p:nvSpPr>
            <p:cNvPr id="4" name="24 Triángulo isósceles"/>
            <p:cNvSpPr/>
            <p:nvPr/>
          </p:nvSpPr>
          <p:spPr>
            <a:xfrm rot="10800000" flipV="1">
              <a:off x="971600" y="4127901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sz="3733">
                <a:solidFill>
                  <a:srgbClr val="008597"/>
                </a:solidFill>
                <a:sym typeface="Gill Sans" charset="0"/>
              </a:endParaRPr>
            </a:p>
          </p:txBody>
        </p:sp>
        <p:sp>
          <p:nvSpPr>
            <p:cNvPr id="5" name="24 Triángulo isósceles"/>
            <p:cNvSpPr/>
            <p:nvPr/>
          </p:nvSpPr>
          <p:spPr>
            <a:xfrm rot="10800000">
              <a:off x="1712859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sz="3733">
                <a:solidFill>
                  <a:srgbClr val="008597"/>
                </a:solidFill>
                <a:sym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93253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758532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Título más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623394" y="11663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0"/>
          </p:nvPr>
        </p:nvSpPr>
        <p:spPr>
          <a:xfrm>
            <a:off x="1583505" y="548681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8927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343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46361" indent="0">
              <a:buNone/>
              <a:defRPr sz="1952" b="1"/>
            </a:lvl2pPr>
            <a:lvl3pPr marL="892718" indent="0">
              <a:buNone/>
              <a:defRPr sz="1757" b="1"/>
            </a:lvl3pPr>
            <a:lvl4pPr marL="1339078" indent="0">
              <a:buNone/>
              <a:defRPr sz="1562" b="1"/>
            </a:lvl4pPr>
            <a:lvl5pPr marL="1785436" indent="0">
              <a:buNone/>
              <a:defRPr sz="1562" b="1"/>
            </a:lvl5pPr>
            <a:lvl6pPr marL="2231796" indent="0">
              <a:buNone/>
              <a:defRPr sz="1562" b="1"/>
            </a:lvl6pPr>
            <a:lvl7pPr marL="2678153" indent="0">
              <a:buNone/>
              <a:defRPr sz="1562" b="1"/>
            </a:lvl7pPr>
            <a:lvl8pPr marL="3124514" indent="0">
              <a:buNone/>
              <a:defRPr sz="1562" b="1"/>
            </a:lvl8pPr>
            <a:lvl9pPr marL="3570873" indent="0">
              <a:buNone/>
              <a:defRPr sz="1562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42768775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ior -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2 Marcador de contenido"/>
          <p:cNvSpPr>
            <a:spLocks noGrp="1"/>
          </p:cNvSpPr>
          <p:nvPr>
            <p:ph sz="half" idx="11"/>
          </p:nvPr>
        </p:nvSpPr>
        <p:spPr>
          <a:xfrm>
            <a:off x="596820" y="1365390"/>
            <a:ext cx="10999373" cy="4525963"/>
          </a:xfrm>
          <a:prstGeom prst="rect">
            <a:avLst/>
          </a:prstGeom>
        </p:spPr>
        <p:txBody>
          <a:bodyPr/>
          <a:lstStyle>
            <a:lvl1pPr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757"/>
            </a:lvl6pPr>
            <a:lvl7pPr>
              <a:defRPr sz="1757"/>
            </a:lvl7pPr>
            <a:lvl8pPr>
              <a:defRPr sz="1757"/>
            </a:lvl8pPr>
            <a:lvl9pPr>
              <a:defRPr sz="1757"/>
            </a:lvl9pPr>
          </a:lstStyle>
          <a:p>
            <a:pPr lvl="0"/>
            <a:r>
              <a:rPr lang="es-ES"/>
              <a:t>Clique para editar os estilos de texto mestres</a:t>
            </a:r>
          </a:p>
        </p:txBody>
      </p:sp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623394" y="11663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4" name="2 Marcador de texto"/>
          <p:cNvSpPr>
            <a:spLocks noGrp="1"/>
          </p:cNvSpPr>
          <p:nvPr>
            <p:ph type="body" idx="10"/>
          </p:nvPr>
        </p:nvSpPr>
        <p:spPr>
          <a:xfrm>
            <a:off x="1583505" y="548681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8927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343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46361" indent="0">
              <a:buNone/>
              <a:defRPr sz="1952" b="1"/>
            </a:lvl2pPr>
            <a:lvl3pPr marL="892718" indent="0">
              <a:buNone/>
              <a:defRPr sz="1757" b="1"/>
            </a:lvl3pPr>
            <a:lvl4pPr marL="1339078" indent="0">
              <a:buNone/>
              <a:defRPr sz="1562" b="1"/>
            </a:lvl4pPr>
            <a:lvl5pPr marL="1785436" indent="0">
              <a:buNone/>
              <a:defRPr sz="1562" b="1"/>
            </a:lvl5pPr>
            <a:lvl6pPr marL="2231796" indent="0">
              <a:buNone/>
              <a:defRPr sz="1562" b="1"/>
            </a:lvl6pPr>
            <a:lvl7pPr marL="2678153" indent="0">
              <a:buNone/>
              <a:defRPr sz="1562" b="1"/>
            </a:lvl7pPr>
            <a:lvl8pPr marL="3124514" indent="0">
              <a:buNone/>
              <a:defRPr sz="1562" b="1"/>
            </a:lvl8pPr>
            <a:lvl9pPr marL="3570873" indent="0">
              <a:buNone/>
              <a:defRPr sz="1562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66099318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Niveles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 Marcador de contenido"/>
          <p:cNvSpPr>
            <a:spLocks noGrp="1"/>
          </p:cNvSpPr>
          <p:nvPr>
            <p:ph sz="half" idx="11"/>
          </p:nvPr>
        </p:nvSpPr>
        <p:spPr>
          <a:xfrm>
            <a:off x="596820" y="1365390"/>
            <a:ext cx="10999373" cy="4525963"/>
          </a:xfrm>
          <a:prstGeom prst="rect">
            <a:avLst/>
          </a:prstGeom>
        </p:spPr>
        <p:txBody>
          <a:bodyPr/>
          <a:lstStyle>
            <a:lvl1pPr marL="334768" indent="-334768">
              <a:buSzPct val="100000"/>
              <a:buFont typeface="Arial" panose="020B0604020202020204" pitchFamily="34" charset="0"/>
              <a:buChar char="•"/>
              <a:defRPr sz="234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81129" indent="-334768">
              <a:buClr>
                <a:schemeClr val="tx2"/>
              </a:buClr>
              <a:buFont typeface="Courier New" panose="02070309020205020404" pitchFamily="49" charset="0"/>
              <a:buChar char="o"/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27487" indent="-334768">
              <a:buClr>
                <a:schemeClr val="tx2"/>
              </a:buClr>
              <a:buFont typeface="Wingdings" panose="05000000000000000000" pitchFamily="2" charset="2"/>
              <a:buChar char="§"/>
              <a:defRPr sz="175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156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757"/>
            </a:lvl6pPr>
            <a:lvl7pPr>
              <a:defRPr sz="1757"/>
            </a:lvl7pPr>
            <a:lvl8pPr>
              <a:defRPr sz="1757"/>
            </a:lvl8pPr>
            <a:lvl9pPr>
              <a:defRPr sz="1757"/>
            </a:lvl9pPr>
          </a:lstStyle>
          <a:p>
            <a:pPr lvl="0"/>
            <a:r>
              <a:rPr lang="es-ES"/>
              <a:t>Clique para editar os estilos de texto </a:t>
            </a:r>
            <a:r>
              <a:rPr lang="es-ES" err="1"/>
              <a:t>mestres</a:t>
            </a:r>
            <a:endParaRPr lang="es-ES"/>
          </a:p>
          <a:p>
            <a:pPr lvl="1"/>
            <a:r>
              <a:rPr lang="es-ES"/>
              <a:t>Segundo </a:t>
            </a:r>
            <a:r>
              <a:rPr lang="es-ES" err="1"/>
              <a:t>nível</a:t>
            </a:r>
            <a:endParaRPr lang="es-ES"/>
          </a:p>
          <a:p>
            <a:pPr lvl="2"/>
            <a:r>
              <a:rPr lang="es-ES" err="1"/>
              <a:t>Terceiro</a:t>
            </a:r>
            <a:r>
              <a:rPr lang="es-ES"/>
              <a:t> </a:t>
            </a:r>
            <a:r>
              <a:rPr lang="es-ES" err="1"/>
              <a:t>nível</a:t>
            </a:r>
            <a:endParaRPr lang="es-ES"/>
          </a:p>
          <a:p>
            <a:pPr lvl="3"/>
            <a:r>
              <a:rPr lang="es-ES" err="1"/>
              <a:t>Quarto</a:t>
            </a:r>
            <a:r>
              <a:rPr lang="es-ES"/>
              <a:t> </a:t>
            </a:r>
            <a:r>
              <a:rPr lang="es-ES" err="1"/>
              <a:t>nível</a:t>
            </a:r>
            <a:endParaRPr lang="es-ES"/>
          </a:p>
        </p:txBody>
      </p:sp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623394" y="11663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4" name="2 Marcador de texto"/>
          <p:cNvSpPr>
            <a:spLocks noGrp="1"/>
          </p:cNvSpPr>
          <p:nvPr>
            <p:ph type="body" idx="10"/>
          </p:nvPr>
        </p:nvSpPr>
        <p:spPr>
          <a:xfrm>
            <a:off x="1583505" y="548681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8927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343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46361" indent="0">
              <a:buNone/>
              <a:defRPr sz="1952" b="1"/>
            </a:lvl2pPr>
            <a:lvl3pPr marL="892718" indent="0">
              <a:buNone/>
              <a:defRPr sz="1757" b="1"/>
            </a:lvl3pPr>
            <a:lvl4pPr marL="1339078" indent="0">
              <a:buNone/>
              <a:defRPr sz="1562" b="1"/>
            </a:lvl4pPr>
            <a:lvl5pPr marL="1785436" indent="0">
              <a:buNone/>
              <a:defRPr sz="1562" b="1"/>
            </a:lvl5pPr>
            <a:lvl6pPr marL="2231796" indent="0">
              <a:buNone/>
              <a:defRPr sz="1562" b="1"/>
            </a:lvl6pPr>
            <a:lvl7pPr marL="2678153" indent="0">
              <a:buNone/>
              <a:defRPr sz="1562" b="1"/>
            </a:lvl7pPr>
            <a:lvl8pPr marL="3124514" indent="0">
              <a:buNone/>
              <a:defRPr sz="1562" b="1"/>
            </a:lvl8pPr>
            <a:lvl9pPr marL="3570873" indent="0">
              <a:buNone/>
              <a:defRPr sz="1562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8844043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Doble columna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2 Marcador de contenido"/>
          <p:cNvSpPr>
            <a:spLocks noGrp="1"/>
          </p:cNvSpPr>
          <p:nvPr>
            <p:ph sz="half" idx="13"/>
          </p:nvPr>
        </p:nvSpPr>
        <p:spPr>
          <a:xfrm>
            <a:off x="6233636" y="1600206"/>
            <a:ext cx="5397581" cy="4525963"/>
          </a:xfrm>
          <a:prstGeom prst="rect">
            <a:avLst/>
          </a:prstGeom>
        </p:spPr>
        <p:txBody>
          <a:bodyPr/>
          <a:lstStyle>
            <a:lvl1pPr marL="334768" indent="-334768">
              <a:buSzPct val="100000"/>
              <a:buFont typeface="Arial" panose="020B0604020202020204" pitchFamily="34" charset="0"/>
              <a:buChar char="•"/>
              <a:defRPr sz="234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81129" indent="-334768">
              <a:buClr>
                <a:schemeClr val="tx2"/>
              </a:buClr>
              <a:buFont typeface="Courier New" panose="02070309020205020404" pitchFamily="49" charset="0"/>
              <a:buChar char="o"/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27487" indent="-334768">
              <a:buClr>
                <a:schemeClr val="tx2"/>
              </a:buClr>
              <a:buFont typeface="Wingdings" panose="05000000000000000000" pitchFamily="2" charset="2"/>
              <a:buChar char="§"/>
              <a:defRPr sz="175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156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757"/>
            </a:lvl6pPr>
            <a:lvl7pPr>
              <a:defRPr sz="1757"/>
            </a:lvl7pPr>
            <a:lvl8pPr>
              <a:defRPr sz="1757"/>
            </a:lvl8pPr>
            <a:lvl9pPr>
              <a:defRPr sz="1757"/>
            </a:lvl9pPr>
          </a:lstStyle>
          <a:p>
            <a:pPr lvl="0"/>
            <a:r>
              <a:rPr lang="es-ES"/>
              <a:t>Clique para editar os estilos de texto mestres</a:t>
            </a:r>
          </a:p>
          <a:p>
            <a:pPr lvl="1"/>
            <a:r>
              <a:rPr lang="es-ES"/>
              <a:t>Segundo nível</a:t>
            </a:r>
          </a:p>
          <a:p>
            <a:pPr lvl="2"/>
            <a:r>
              <a:rPr lang="es-ES"/>
              <a:t>Terceiro nível</a:t>
            </a:r>
          </a:p>
          <a:p>
            <a:pPr lvl="3"/>
            <a:r>
              <a:rPr lang="es-ES"/>
              <a:t>Quarto nível</a:t>
            </a:r>
          </a:p>
        </p:txBody>
      </p:sp>
      <p:sp>
        <p:nvSpPr>
          <p:cNvPr id="6" name="2 Marcador de contenido"/>
          <p:cNvSpPr>
            <a:spLocks noGrp="1"/>
          </p:cNvSpPr>
          <p:nvPr>
            <p:ph sz="half" idx="12"/>
          </p:nvPr>
        </p:nvSpPr>
        <p:spPr>
          <a:xfrm>
            <a:off x="596823" y="1600206"/>
            <a:ext cx="5397581" cy="4525963"/>
          </a:xfrm>
          <a:prstGeom prst="rect">
            <a:avLst/>
          </a:prstGeom>
        </p:spPr>
        <p:txBody>
          <a:bodyPr/>
          <a:lstStyle>
            <a:lvl1pPr marL="334768" indent="-334768">
              <a:buSzPct val="100000"/>
              <a:buFont typeface="Arial" panose="020B0604020202020204" pitchFamily="34" charset="0"/>
              <a:buChar char="•"/>
              <a:defRPr sz="234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81129" indent="-334768">
              <a:buClr>
                <a:schemeClr val="tx2"/>
              </a:buClr>
              <a:buFont typeface="Courier New" panose="02070309020205020404" pitchFamily="49" charset="0"/>
              <a:buChar char="o"/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27487" indent="-334768">
              <a:buClr>
                <a:schemeClr val="tx2"/>
              </a:buClr>
              <a:buFont typeface="Wingdings" panose="05000000000000000000" pitchFamily="2" charset="2"/>
              <a:buChar char="§"/>
              <a:defRPr sz="175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156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757"/>
            </a:lvl6pPr>
            <a:lvl7pPr>
              <a:defRPr sz="1757"/>
            </a:lvl7pPr>
            <a:lvl8pPr>
              <a:defRPr sz="1757"/>
            </a:lvl8pPr>
            <a:lvl9pPr>
              <a:defRPr sz="1757"/>
            </a:lvl9pPr>
          </a:lstStyle>
          <a:p>
            <a:pPr lvl="0"/>
            <a:r>
              <a:rPr lang="es-ES"/>
              <a:t>Clique para editar os estilos de texto mestres</a:t>
            </a:r>
          </a:p>
          <a:p>
            <a:pPr lvl="1"/>
            <a:r>
              <a:rPr lang="es-ES"/>
              <a:t>Segundo nível</a:t>
            </a:r>
          </a:p>
          <a:p>
            <a:pPr lvl="2"/>
            <a:r>
              <a:rPr lang="es-ES"/>
              <a:t>Terceiro nível</a:t>
            </a:r>
          </a:p>
          <a:p>
            <a:pPr lvl="3"/>
            <a:r>
              <a:rPr lang="es-ES"/>
              <a:t>Quarto nível</a:t>
            </a:r>
          </a:p>
        </p:txBody>
      </p:sp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623394" y="11663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1"/>
          </p:nvPr>
        </p:nvSpPr>
        <p:spPr>
          <a:xfrm>
            <a:off x="1583505" y="548681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8927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343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46361" indent="0">
              <a:buNone/>
              <a:defRPr sz="1952" b="1"/>
            </a:lvl2pPr>
            <a:lvl3pPr marL="892718" indent="0">
              <a:buNone/>
              <a:defRPr sz="1757" b="1"/>
            </a:lvl3pPr>
            <a:lvl4pPr marL="1339078" indent="0">
              <a:buNone/>
              <a:defRPr sz="1562" b="1"/>
            </a:lvl4pPr>
            <a:lvl5pPr marL="1785436" indent="0">
              <a:buNone/>
              <a:defRPr sz="1562" b="1"/>
            </a:lvl5pPr>
            <a:lvl6pPr marL="2231796" indent="0">
              <a:buNone/>
              <a:defRPr sz="1562" b="1"/>
            </a:lvl6pPr>
            <a:lvl7pPr marL="2678153" indent="0">
              <a:buNone/>
              <a:defRPr sz="1562" b="1"/>
            </a:lvl7pPr>
            <a:lvl8pPr marL="3124514" indent="0">
              <a:buNone/>
              <a:defRPr sz="1562" b="1"/>
            </a:lvl8pPr>
            <a:lvl9pPr marL="3570873" indent="0">
              <a:buNone/>
              <a:defRPr sz="1562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2656526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Cuadro d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2 Marcador de contenido"/>
          <p:cNvSpPr>
            <a:spLocks noGrp="1"/>
          </p:cNvSpPr>
          <p:nvPr>
            <p:ph sz="half" idx="11"/>
          </p:nvPr>
        </p:nvSpPr>
        <p:spPr>
          <a:xfrm>
            <a:off x="583028" y="1580134"/>
            <a:ext cx="10999373" cy="4525963"/>
          </a:xfrm>
          <a:prstGeom prst="rect">
            <a:avLst/>
          </a:prstGeom>
        </p:spPr>
        <p:txBody>
          <a:bodyPr vert="vert"/>
          <a:lstStyle>
            <a:lvl1pPr marL="334768" indent="-334768">
              <a:buSzPct val="100000"/>
              <a:buFont typeface="Arial" panose="020B0604020202020204" pitchFamily="34" charset="0"/>
              <a:buChar char="•"/>
              <a:defRPr sz="2343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81129" indent="-334768">
              <a:buClr>
                <a:schemeClr val="tx2"/>
              </a:buClr>
              <a:buFont typeface="Courier New" panose="02070309020205020404" pitchFamily="49" charset="0"/>
              <a:buChar char="o"/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27487" indent="-334768">
              <a:buClr>
                <a:schemeClr val="tx2"/>
              </a:buClr>
              <a:buFont typeface="Wingdings" panose="05000000000000000000" pitchFamily="2" charset="2"/>
              <a:buChar char="§"/>
              <a:defRPr sz="175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156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1952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757"/>
            </a:lvl6pPr>
            <a:lvl7pPr>
              <a:defRPr sz="1757"/>
            </a:lvl7pPr>
            <a:lvl8pPr>
              <a:defRPr sz="1757"/>
            </a:lvl8pPr>
            <a:lvl9pPr>
              <a:defRPr sz="1757"/>
            </a:lvl9pPr>
          </a:lstStyle>
          <a:p>
            <a:pPr lvl="0"/>
            <a:r>
              <a:rPr lang="es-ES"/>
              <a:t>Clique para editar os estilos de texto mestres</a:t>
            </a:r>
          </a:p>
          <a:p>
            <a:pPr lvl="1"/>
            <a:r>
              <a:rPr lang="es-ES"/>
              <a:t>Segundo nível</a:t>
            </a:r>
          </a:p>
          <a:p>
            <a:pPr lvl="2"/>
            <a:r>
              <a:rPr lang="es-ES"/>
              <a:t>Terceiro nível</a:t>
            </a:r>
          </a:p>
          <a:p>
            <a:pPr lvl="3"/>
            <a:r>
              <a:rPr lang="es-ES"/>
              <a:t>Quarto nível</a:t>
            </a:r>
          </a:p>
        </p:txBody>
      </p:sp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623394" y="11663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0"/>
          </p:nvPr>
        </p:nvSpPr>
        <p:spPr>
          <a:xfrm>
            <a:off x="1583505" y="548681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8927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343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46361" indent="0">
              <a:buNone/>
              <a:defRPr sz="1952" b="1"/>
            </a:lvl2pPr>
            <a:lvl3pPr marL="892718" indent="0">
              <a:buNone/>
              <a:defRPr sz="1757" b="1"/>
            </a:lvl3pPr>
            <a:lvl4pPr marL="1339078" indent="0">
              <a:buNone/>
              <a:defRPr sz="1562" b="1"/>
            </a:lvl4pPr>
            <a:lvl5pPr marL="1785436" indent="0">
              <a:buNone/>
              <a:defRPr sz="1562" b="1"/>
            </a:lvl5pPr>
            <a:lvl6pPr marL="2231796" indent="0">
              <a:buNone/>
              <a:defRPr sz="1562" b="1"/>
            </a:lvl6pPr>
            <a:lvl7pPr marL="2678153" indent="0">
              <a:buNone/>
              <a:defRPr sz="1562" b="1"/>
            </a:lvl7pPr>
            <a:lvl8pPr marL="3124514" indent="0">
              <a:buNone/>
              <a:defRPr sz="1562" b="1"/>
            </a:lvl8pPr>
            <a:lvl9pPr marL="3570873" indent="0">
              <a:buNone/>
              <a:defRPr sz="1562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241481265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terior - Niveles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239350" y="68629"/>
            <a:ext cx="11809312" cy="338555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l">
              <a:defRPr sz="2148" b="1">
                <a:solidFill>
                  <a:schemeClr val="accent6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s-ES" altLang="es-ES"/>
              <a:t>Clique para editar estilo do título </a:t>
            </a:r>
            <a:r>
              <a:rPr lang="es-ES" altLang="es-ES" err="1"/>
              <a:t>mestre</a:t>
            </a:r>
            <a:endParaRPr lang="es-ES" altLang="es-ES"/>
          </a:p>
        </p:txBody>
      </p:sp>
    </p:spTree>
    <p:extLst>
      <p:ext uri="{BB962C8B-B14F-4D97-AF65-F5344CB8AC3E}">
        <p14:creationId xmlns:p14="http://schemas.microsoft.com/office/powerpoint/2010/main" val="341314109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 AZUL PROYECTAB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59 Grupo"/>
          <p:cNvGrpSpPr>
            <a:grpSpLocks/>
          </p:cNvGrpSpPr>
          <p:nvPr userDrawn="1"/>
        </p:nvGrpSpPr>
        <p:grpSpPr bwMode="auto">
          <a:xfrm>
            <a:off x="10496553" y="910167"/>
            <a:ext cx="575733" cy="215900"/>
            <a:chOff x="971600" y="4149080"/>
            <a:chExt cx="1440160" cy="720080"/>
          </a:xfrm>
        </p:grpSpPr>
        <p:sp>
          <p:nvSpPr>
            <p:cNvPr id="3" name="24 Triángulo isósceles"/>
            <p:cNvSpPr/>
            <p:nvPr/>
          </p:nvSpPr>
          <p:spPr>
            <a:xfrm rot="10800000" flipV="1">
              <a:off x="97160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9167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734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ill Sans" charset="0"/>
              </a:endParaRPr>
            </a:p>
          </p:txBody>
        </p:sp>
        <p:sp>
          <p:nvSpPr>
            <p:cNvPr id="4" name="24 Triángulo isósceles"/>
            <p:cNvSpPr/>
            <p:nvPr/>
          </p:nvSpPr>
          <p:spPr>
            <a:xfrm rot="10800000">
              <a:off x="169168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9167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734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ill Sans" charset="0"/>
              </a:endParaRPr>
            </a:p>
          </p:txBody>
        </p:sp>
      </p:grp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308" y="751417"/>
            <a:ext cx="2597151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5 Rectángulo"/>
          <p:cNvSpPr/>
          <p:nvPr userDrawn="1"/>
        </p:nvSpPr>
        <p:spPr>
          <a:xfrm>
            <a:off x="359840" y="332325"/>
            <a:ext cx="11476566" cy="6195483"/>
          </a:xfrm>
          <a:prstGeom prst="rect">
            <a:avLst/>
          </a:prstGeom>
          <a:noFill/>
          <a:ln w="444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67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2734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716000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 AZUL PROYECTAB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66 Grupo"/>
          <p:cNvGrpSpPr>
            <a:grpSpLocks/>
          </p:cNvGrpSpPr>
          <p:nvPr userDrawn="1"/>
        </p:nvGrpSpPr>
        <p:grpSpPr bwMode="auto">
          <a:xfrm rot="-5400000">
            <a:off x="4980519" y="3213103"/>
            <a:ext cx="647700" cy="431801"/>
            <a:chOff x="971600" y="4149080"/>
            <a:chExt cx="1440160" cy="720080"/>
          </a:xfrm>
        </p:grpSpPr>
        <p:sp>
          <p:nvSpPr>
            <p:cNvPr id="3" name="24 Triángulo isósceles"/>
            <p:cNvSpPr/>
            <p:nvPr/>
          </p:nvSpPr>
          <p:spPr>
            <a:xfrm rot="10800000" flipV="1">
              <a:off x="1084555" y="4142022"/>
              <a:ext cx="720081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762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9167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863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ill Sans" charset="0"/>
              </a:endParaRPr>
            </a:p>
          </p:txBody>
        </p:sp>
        <p:sp>
          <p:nvSpPr>
            <p:cNvPr id="4" name="24 Triángulo isósceles"/>
            <p:cNvSpPr/>
            <p:nvPr/>
          </p:nvSpPr>
          <p:spPr>
            <a:xfrm rot="10800000">
              <a:off x="1814048" y="4149080"/>
              <a:ext cx="720079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762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9167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863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079881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Interior - Niveles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239350" y="68628"/>
            <a:ext cx="11809312" cy="451405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l">
              <a:defRPr sz="2865" b="1">
                <a:solidFill>
                  <a:schemeClr val="accent6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s-ES" altLang="es-ES"/>
              <a:t>Clique para editar estilo do título </a:t>
            </a:r>
            <a:r>
              <a:rPr lang="es-ES" altLang="es-ES" err="1"/>
              <a:t>mestre</a:t>
            </a:r>
            <a:endParaRPr lang="es-ES" altLang="es-ES"/>
          </a:p>
        </p:txBody>
      </p:sp>
    </p:spTree>
    <p:extLst>
      <p:ext uri="{BB962C8B-B14F-4D97-AF65-F5344CB8AC3E}">
        <p14:creationId xmlns:p14="http://schemas.microsoft.com/office/powerpoint/2010/main" val="34202088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 azul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Elipse"/>
          <p:cNvSpPr/>
          <p:nvPr userDrawn="1"/>
        </p:nvSpPr>
        <p:spPr>
          <a:xfrm rot="16200000">
            <a:off x="4895851" y="2995085"/>
            <a:ext cx="865716" cy="86571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es-ES" sz="3733">
              <a:solidFill>
                <a:srgbClr val="FFFFFF"/>
              </a:solidFill>
              <a:sym typeface="Gill Sans" charset="0"/>
            </a:endParaRPr>
          </a:p>
        </p:txBody>
      </p:sp>
      <p:grpSp>
        <p:nvGrpSpPr>
          <p:cNvPr id="3" name="66 Grupo"/>
          <p:cNvGrpSpPr>
            <a:grpSpLocks/>
          </p:cNvGrpSpPr>
          <p:nvPr userDrawn="1"/>
        </p:nvGrpSpPr>
        <p:grpSpPr bwMode="auto">
          <a:xfrm rot="-5400000">
            <a:off x="5090584" y="3285067"/>
            <a:ext cx="575733" cy="287867"/>
            <a:chOff x="971600" y="4149080"/>
            <a:chExt cx="1440160" cy="720080"/>
          </a:xfrm>
        </p:grpSpPr>
        <p:sp>
          <p:nvSpPr>
            <p:cNvPr id="4" name="24 Triángulo isósceles"/>
            <p:cNvSpPr/>
            <p:nvPr/>
          </p:nvSpPr>
          <p:spPr>
            <a:xfrm rot="10800000" flipV="1">
              <a:off x="971600" y="4127901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sz="3733">
                <a:solidFill>
                  <a:srgbClr val="008597"/>
                </a:solidFill>
                <a:sym typeface="Gill Sans" charset="0"/>
              </a:endParaRPr>
            </a:p>
          </p:txBody>
        </p:sp>
        <p:sp>
          <p:nvSpPr>
            <p:cNvPr id="5" name="24 Triángulo isósceles"/>
            <p:cNvSpPr/>
            <p:nvPr/>
          </p:nvSpPr>
          <p:spPr>
            <a:xfrm rot="10800000">
              <a:off x="1712859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sz="3733">
                <a:solidFill>
                  <a:srgbClr val="008597"/>
                </a:solidFill>
                <a:sym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45078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92202" y="476159"/>
            <a:ext cx="11226134" cy="401925"/>
          </a:xfrm>
          <a:prstGeom prst="rect">
            <a:avLst/>
          </a:prstGeom>
          <a:noFill/>
        </p:spPr>
        <p:txBody>
          <a:bodyPr wrap="square" lIns="87779" tIns="43890" rIns="87779" bIns="43890" rtlCol="0">
            <a:spAutoFit/>
          </a:bodyPr>
          <a:lstStyle>
            <a:lvl1pPr>
              <a:defRPr lang="en-US" sz="2034" i="1" dirty="0" smtClean="0">
                <a:solidFill>
                  <a:prstClr val="black"/>
                </a:solidFill>
                <a:latin typeface="Calibri"/>
                <a:ea typeface="MS PGothic" panose="020B0600070205080204" pitchFamily="34" charset="-128"/>
              </a:defRPr>
            </a:lvl1pPr>
          </a:lstStyle>
          <a:p>
            <a:pPr lvl="0"/>
            <a:r>
              <a:rPr lang="pt-BR" noProof="0"/>
              <a:t>Clique para editar o texto mestr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92202" y="11723"/>
            <a:ext cx="11225781" cy="601727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4"/>
          </p:nvPr>
        </p:nvSpPr>
        <p:spPr>
          <a:xfrm>
            <a:off x="1731436" y="6356352"/>
            <a:ext cx="2745317" cy="36406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677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E822E670-379A-46D0-A49A-44D6AEE48F6A}" type="datetime1">
              <a:rPr lang="pt-BR" smtClean="0">
                <a:solidFill>
                  <a:srgbClr val="008597">
                    <a:tint val="75000"/>
                  </a:srgbClr>
                </a:solidFill>
                <a:ea typeface="ヒラギノ角ゴ ProN W3" charset="-128"/>
                <a:sym typeface="Gill Sans" charset="0"/>
              </a:rPr>
              <a:pPr defTabSz="91677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27/10/2017</a:t>
            </a:fld>
            <a:endParaRPr lang="pt-BR">
              <a:solidFill>
                <a:srgbClr val="008597">
                  <a:tint val="75000"/>
                </a:srgbClr>
              </a:solidFill>
              <a:ea typeface="ヒラギノ角ゴ ProN W3" charset="-128"/>
              <a:sym typeface="Gill Sans" charset="0"/>
            </a:endParaRP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5"/>
          </p:nvPr>
        </p:nvSpPr>
        <p:spPr>
          <a:xfrm>
            <a:off x="4610100" y="6356352"/>
            <a:ext cx="6019800" cy="36406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677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>
              <a:solidFill>
                <a:srgbClr val="008597">
                  <a:tint val="75000"/>
                </a:srgbClr>
              </a:solidFill>
              <a:ea typeface="ヒラギノ角ゴ ProN W3" charset="-128"/>
              <a:sym typeface="Gill Sans" charset="0"/>
            </a:endParaRPr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1151469" y="6356352"/>
            <a:ext cx="446617" cy="36406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677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2DC69B8F-07D9-4495-B39D-E7895448307B}" type="slidenum">
              <a:rPr lang="pt-BR" smtClean="0">
                <a:solidFill>
                  <a:srgbClr val="008597">
                    <a:tint val="75000"/>
                  </a:srgbClr>
                </a:solidFill>
                <a:ea typeface="ヒラギノ角ゴ ProN W3" charset="-128"/>
                <a:sym typeface="Gill Sans" charset="0"/>
              </a:rPr>
              <a:pPr defTabSz="91677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>
              <a:solidFill>
                <a:srgbClr val="008597">
                  <a:tint val="75000"/>
                </a:srgbClr>
              </a:solidFill>
              <a:ea typeface="ヒラギノ角ゴ ProN W3" charset="-128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53839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188916"/>
            <a:ext cx="10972800" cy="6477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5190877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284198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152754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Título más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168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0"/>
          </p:nvPr>
        </p:nvSpPr>
        <p:spPr>
          <a:xfrm>
            <a:off x="1391481" y="644690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1908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04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95438" indent="0">
              <a:buNone/>
              <a:defRPr sz="2604" b="1"/>
            </a:lvl2pPr>
            <a:lvl3pPr marL="1190877" indent="0">
              <a:buNone/>
              <a:defRPr sz="2344" b="1"/>
            </a:lvl3pPr>
            <a:lvl4pPr marL="1786315" indent="0">
              <a:buNone/>
              <a:defRPr sz="2084" b="1"/>
            </a:lvl4pPr>
            <a:lvl5pPr marL="2381754" indent="0">
              <a:buNone/>
              <a:defRPr sz="2084" b="1"/>
            </a:lvl5pPr>
            <a:lvl6pPr marL="2977192" indent="0">
              <a:buNone/>
              <a:defRPr sz="2084" b="1"/>
            </a:lvl6pPr>
            <a:lvl7pPr marL="3572629" indent="0">
              <a:buNone/>
              <a:defRPr sz="2084" b="1"/>
            </a:lvl7pPr>
            <a:lvl8pPr marL="4168069" indent="0">
              <a:buNone/>
              <a:defRPr sz="2084" b="1"/>
            </a:lvl8pPr>
            <a:lvl9pPr marL="4763506" indent="0">
              <a:buNone/>
              <a:defRPr sz="2084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17371983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ior -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2 Marcador de contenido"/>
          <p:cNvSpPr>
            <a:spLocks noGrp="1"/>
          </p:cNvSpPr>
          <p:nvPr>
            <p:ph sz="half" idx="11"/>
          </p:nvPr>
        </p:nvSpPr>
        <p:spPr>
          <a:xfrm>
            <a:off x="596819" y="1365387"/>
            <a:ext cx="10999373" cy="4525963"/>
          </a:xfrm>
          <a:prstGeom prst="rect">
            <a:avLst/>
          </a:prstGeom>
        </p:spPr>
        <p:txBody>
          <a:bodyPr/>
          <a:lstStyle>
            <a:lvl1pPr>
              <a:defRPr sz="234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60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60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60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60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344"/>
            </a:lvl6pPr>
            <a:lvl7pPr>
              <a:defRPr sz="2344"/>
            </a:lvl7pPr>
            <a:lvl8pPr>
              <a:defRPr sz="2344"/>
            </a:lvl8pPr>
            <a:lvl9pPr>
              <a:defRPr sz="2344"/>
            </a:lvl9pPr>
          </a:lstStyle>
          <a:p>
            <a:pPr lvl="0"/>
            <a:endParaRPr lang="es-ES"/>
          </a:p>
        </p:txBody>
      </p:sp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168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4" name="2 Marcador de texto"/>
          <p:cNvSpPr>
            <a:spLocks noGrp="1"/>
          </p:cNvSpPr>
          <p:nvPr>
            <p:ph type="body" idx="10"/>
          </p:nvPr>
        </p:nvSpPr>
        <p:spPr>
          <a:xfrm>
            <a:off x="1391481" y="644690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1908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04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95438" indent="0">
              <a:buNone/>
              <a:defRPr sz="2604" b="1"/>
            </a:lvl2pPr>
            <a:lvl3pPr marL="1190877" indent="0">
              <a:buNone/>
              <a:defRPr sz="2344" b="1"/>
            </a:lvl3pPr>
            <a:lvl4pPr marL="1786315" indent="0">
              <a:buNone/>
              <a:defRPr sz="2084" b="1"/>
            </a:lvl4pPr>
            <a:lvl5pPr marL="2381754" indent="0">
              <a:buNone/>
              <a:defRPr sz="2084" b="1"/>
            </a:lvl5pPr>
            <a:lvl6pPr marL="2977192" indent="0">
              <a:buNone/>
              <a:defRPr sz="2084" b="1"/>
            </a:lvl6pPr>
            <a:lvl7pPr marL="3572629" indent="0">
              <a:buNone/>
              <a:defRPr sz="2084" b="1"/>
            </a:lvl7pPr>
            <a:lvl8pPr marL="4168069" indent="0">
              <a:buNone/>
              <a:defRPr sz="2084" b="1"/>
            </a:lvl8pPr>
            <a:lvl9pPr marL="4763506" indent="0">
              <a:buNone/>
              <a:defRPr sz="2084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289879895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Niveles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>
            <a:spLocks noGrp="1"/>
          </p:cNvSpPr>
          <p:nvPr>
            <p:ph sz="half" idx="12"/>
          </p:nvPr>
        </p:nvSpPr>
        <p:spPr>
          <a:xfrm>
            <a:off x="596820" y="1383067"/>
            <a:ext cx="10842379" cy="4508284"/>
          </a:xfrm>
          <a:prstGeom prst="rect">
            <a:avLst/>
          </a:prstGeom>
        </p:spPr>
        <p:txBody>
          <a:bodyPr/>
          <a:lstStyle>
            <a:lvl1pPr marL="446578" indent="-446578">
              <a:buSzPct val="100000"/>
              <a:buFont typeface="Arial" panose="020B0604020202020204" pitchFamily="34" charset="0"/>
              <a:buChar char="•"/>
              <a:defRPr sz="3125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42017" indent="-446578">
              <a:buClr>
                <a:schemeClr val="tx2"/>
              </a:buClr>
              <a:buFont typeface="Courier New" panose="02070309020205020404" pitchFamily="49" charset="0"/>
              <a:buChar char="o"/>
              <a:defRPr sz="260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37455" indent="-446578">
              <a:buClr>
                <a:schemeClr val="tx2"/>
              </a:buClr>
              <a:buFont typeface="Wingdings" panose="05000000000000000000" pitchFamily="2" charset="2"/>
              <a:buChar char="§"/>
              <a:defRPr sz="234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08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0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344"/>
            </a:lvl6pPr>
            <a:lvl7pPr>
              <a:defRPr sz="2344"/>
            </a:lvl7pPr>
            <a:lvl8pPr>
              <a:defRPr sz="2344"/>
            </a:lvl8pPr>
            <a:lvl9pPr>
              <a:defRPr sz="2344"/>
            </a:lvl9pPr>
          </a:lstStyle>
          <a:p>
            <a:pPr lvl="0"/>
            <a:r>
              <a:rPr lang="es-ES"/>
              <a:t>Clique para editar os estilos de texto </a:t>
            </a:r>
            <a:r>
              <a:rPr lang="es-ES" err="1"/>
              <a:t>mestres</a:t>
            </a:r>
            <a:endParaRPr lang="es-ES"/>
          </a:p>
          <a:p>
            <a:pPr lvl="1"/>
            <a:r>
              <a:rPr lang="es-ES"/>
              <a:t>Adicionar texto</a:t>
            </a:r>
          </a:p>
          <a:p>
            <a:pPr lvl="2"/>
            <a:r>
              <a:rPr lang="es-ES"/>
              <a:t>Adicionar texto</a:t>
            </a:r>
          </a:p>
          <a:p>
            <a:pPr lvl="3"/>
            <a:r>
              <a:rPr lang="es-ES"/>
              <a:t>Adicionar texto</a:t>
            </a:r>
          </a:p>
        </p:txBody>
      </p:sp>
      <p:sp>
        <p:nvSpPr>
          <p:cNvPr id="3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168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4" name="2 Marcador de texto"/>
          <p:cNvSpPr>
            <a:spLocks noGrp="1"/>
          </p:cNvSpPr>
          <p:nvPr>
            <p:ph type="body" idx="10"/>
          </p:nvPr>
        </p:nvSpPr>
        <p:spPr>
          <a:xfrm>
            <a:off x="1391481" y="644690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1908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04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95438" indent="0">
              <a:buNone/>
              <a:defRPr sz="2604" b="1"/>
            </a:lvl2pPr>
            <a:lvl3pPr marL="1190877" indent="0">
              <a:buNone/>
              <a:defRPr sz="2344" b="1"/>
            </a:lvl3pPr>
            <a:lvl4pPr marL="1786315" indent="0">
              <a:buNone/>
              <a:defRPr sz="2084" b="1"/>
            </a:lvl4pPr>
            <a:lvl5pPr marL="2381754" indent="0">
              <a:buNone/>
              <a:defRPr sz="2084" b="1"/>
            </a:lvl5pPr>
            <a:lvl6pPr marL="2977192" indent="0">
              <a:buNone/>
              <a:defRPr sz="2084" b="1"/>
            </a:lvl6pPr>
            <a:lvl7pPr marL="3572629" indent="0">
              <a:buNone/>
              <a:defRPr sz="2084" b="1"/>
            </a:lvl7pPr>
            <a:lvl8pPr marL="4168069" indent="0">
              <a:buNone/>
              <a:defRPr sz="2084" b="1"/>
            </a:lvl8pPr>
            <a:lvl9pPr marL="4763506" indent="0">
              <a:buNone/>
              <a:defRPr sz="2084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263902002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Doble columna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2 Marcador de contenido"/>
          <p:cNvSpPr>
            <a:spLocks noGrp="1"/>
          </p:cNvSpPr>
          <p:nvPr>
            <p:ph sz="half" idx="13"/>
          </p:nvPr>
        </p:nvSpPr>
        <p:spPr>
          <a:xfrm>
            <a:off x="6233636" y="1600203"/>
            <a:ext cx="5397581" cy="4525963"/>
          </a:xfrm>
          <a:prstGeom prst="rect">
            <a:avLst/>
          </a:prstGeom>
        </p:spPr>
        <p:txBody>
          <a:bodyPr/>
          <a:lstStyle>
            <a:lvl1pPr marL="446578" indent="-446578">
              <a:buSzPct val="100000"/>
              <a:buFont typeface="Arial" panose="020B0604020202020204" pitchFamily="34" charset="0"/>
              <a:buChar char="•"/>
              <a:defRPr sz="3125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42017" indent="-446578">
              <a:buClr>
                <a:schemeClr val="tx2"/>
              </a:buClr>
              <a:buFont typeface="Courier New" panose="02070309020205020404" pitchFamily="49" charset="0"/>
              <a:buChar char="o"/>
              <a:defRPr sz="260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37455" indent="-446578">
              <a:buClr>
                <a:schemeClr val="tx2"/>
              </a:buClr>
              <a:buFont typeface="Wingdings" panose="05000000000000000000" pitchFamily="2" charset="2"/>
              <a:buChar char="§"/>
              <a:defRPr sz="234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08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0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344"/>
            </a:lvl6pPr>
            <a:lvl7pPr>
              <a:defRPr sz="2344"/>
            </a:lvl7pPr>
            <a:lvl8pPr>
              <a:defRPr sz="2344"/>
            </a:lvl8pPr>
            <a:lvl9pPr>
              <a:defRPr sz="2344"/>
            </a:lvl9pPr>
          </a:lstStyle>
          <a:p>
            <a:pPr lvl="0"/>
            <a:r>
              <a:rPr lang="es-ES"/>
              <a:t>Clique para editar os estilos de texto </a:t>
            </a:r>
            <a:r>
              <a:rPr lang="es-ES" err="1"/>
              <a:t>mestres</a:t>
            </a:r>
            <a:endParaRPr lang="es-ES"/>
          </a:p>
          <a:p>
            <a:pPr lvl="1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2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3"/>
            <a:r>
              <a:rPr lang="es-ES" err="1"/>
              <a:t>Adiconar</a:t>
            </a:r>
            <a:r>
              <a:rPr lang="es-ES"/>
              <a:t> texto</a:t>
            </a:r>
          </a:p>
        </p:txBody>
      </p:sp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168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1"/>
          </p:nvPr>
        </p:nvSpPr>
        <p:spPr>
          <a:xfrm>
            <a:off x="1391481" y="644690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1908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04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95438" indent="0">
              <a:buNone/>
              <a:defRPr sz="2604" b="1"/>
            </a:lvl2pPr>
            <a:lvl3pPr marL="1190877" indent="0">
              <a:buNone/>
              <a:defRPr sz="2344" b="1"/>
            </a:lvl3pPr>
            <a:lvl4pPr marL="1786315" indent="0">
              <a:buNone/>
              <a:defRPr sz="2084" b="1"/>
            </a:lvl4pPr>
            <a:lvl5pPr marL="2381754" indent="0">
              <a:buNone/>
              <a:defRPr sz="2084" b="1"/>
            </a:lvl5pPr>
            <a:lvl6pPr marL="2977192" indent="0">
              <a:buNone/>
              <a:defRPr sz="2084" b="1"/>
            </a:lvl6pPr>
            <a:lvl7pPr marL="3572629" indent="0">
              <a:buNone/>
              <a:defRPr sz="2084" b="1"/>
            </a:lvl7pPr>
            <a:lvl8pPr marL="4168069" indent="0">
              <a:buNone/>
              <a:defRPr sz="2084" b="1"/>
            </a:lvl8pPr>
            <a:lvl9pPr marL="4763506" indent="0">
              <a:buNone/>
              <a:defRPr sz="2084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  <p:sp>
        <p:nvSpPr>
          <p:cNvPr id="9" name="2 Marcador de contenido"/>
          <p:cNvSpPr>
            <a:spLocks noGrp="1"/>
          </p:cNvSpPr>
          <p:nvPr>
            <p:ph sz="half" idx="12"/>
          </p:nvPr>
        </p:nvSpPr>
        <p:spPr>
          <a:xfrm>
            <a:off x="596819" y="1600203"/>
            <a:ext cx="5397581" cy="4525963"/>
          </a:xfrm>
          <a:prstGeom prst="rect">
            <a:avLst/>
          </a:prstGeom>
        </p:spPr>
        <p:txBody>
          <a:bodyPr/>
          <a:lstStyle>
            <a:lvl1pPr marL="446578" indent="-446578">
              <a:buSzPct val="100000"/>
              <a:buFont typeface="Arial" panose="020B0604020202020204" pitchFamily="34" charset="0"/>
              <a:buChar char="•"/>
              <a:defRPr sz="3125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42017" indent="-446578">
              <a:buClr>
                <a:schemeClr val="tx2"/>
              </a:buClr>
              <a:buFont typeface="Courier New" panose="02070309020205020404" pitchFamily="49" charset="0"/>
              <a:buChar char="o"/>
              <a:defRPr sz="260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37455" indent="-446578">
              <a:buClr>
                <a:schemeClr val="tx2"/>
              </a:buClr>
              <a:buFont typeface="Wingdings" panose="05000000000000000000" pitchFamily="2" charset="2"/>
              <a:buChar char="§"/>
              <a:defRPr sz="234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08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0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344"/>
            </a:lvl6pPr>
            <a:lvl7pPr>
              <a:defRPr sz="2344"/>
            </a:lvl7pPr>
            <a:lvl8pPr>
              <a:defRPr sz="2344"/>
            </a:lvl8pPr>
            <a:lvl9pPr>
              <a:defRPr sz="2344"/>
            </a:lvl9pPr>
          </a:lstStyle>
          <a:p>
            <a:pPr lvl="0"/>
            <a:r>
              <a:rPr lang="es-ES"/>
              <a:t>Clique para editar os estilos de texto </a:t>
            </a:r>
            <a:r>
              <a:rPr lang="es-ES" err="1"/>
              <a:t>mestres</a:t>
            </a:r>
            <a:endParaRPr lang="es-ES"/>
          </a:p>
          <a:p>
            <a:pPr lvl="1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2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3"/>
            <a:r>
              <a:rPr lang="es-ES" err="1"/>
              <a:t>Adiconar</a:t>
            </a:r>
            <a:r>
              <a:rPr lang="es-ES"/>
              <a:t> texto</a:t>
            </a:r>
          </a:p>
        </p:txBody>
      </p:sp>
    </p:spTree>
    <p:extLst>
      <p:ext uri="{BB962C8B-B14F-4D97-AF65-F5344CB8AC3E}">
        <p14:creationId xmlns:p14="http://schemas.microsoft.com/office/powerpoint/2010/main" val="261416664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- Cuadro d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168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/>
              <a:t>Clique para editar estilo do título mestre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0"/>
          </p:nvPr>
        </p:nvSpPr>
        <p:spPr>
          <a:xfrm>
            <a:off x="1391481" y="644690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1908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04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95438" indent="0">
              <a:buNone/>
              <a:defRPr sz="2604" b="1"/>
            </a:lvl2pPr>
            <a:lvl3pPr marL="1190877" indent="0">
              <a:buNone/>
              <a:defRPr sz="2344" b="1"/>
            </a:lvl3pPr>
            <a:lvl4pPr marL="1786315" indent="0">
              <a:buNone/>
              <a:defRPr sz="2084" b="1"/>
            </a:lvl4pPr>
            <a:lvl5pPr marL="2381754" indent="0">
              <a:buNone/>
              <a:defRPr sz="2084" b="1"/>
            </a:lvl5pPr>
            <a:lvl6pPr marL="2977192" indent="0">
              <a:buNone/>
              <a:defRPr sz="2084" b="1"/>
            </a:lvl6pPr>
            <a:lvl7pPr marL="3572629" indent="0">
              <a:buNone/>
              <a:defRPr sz="2084" b="1"/>
            </a:lvl7pPr>
            <a:lvl8pPr marL="4168069" indent="0">
              <a:buNone/>
              <a:defRPr sz="2084" b="1"/>
            </a:lvl8pPr>
            <a:lvl9pPr marL="4763506" indent="0">
              <a:buNone/>
              <a:defRPr sz="2084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Clique para editar os estilos de texto mestres</a:t>
            </a:r>
          </a:p>
        </p:txBody>
      </p:sp>
      <p:sp>
        <p:nvSpPr>
          <p:cNvPr id="7" name="2 Marcador de contenido"/>
          <p:cNvSpPr>
            <a:spLocks noGrp="1"/>
          </p:cNvSpPr>
          <p:nvPr>
            <p:ph sz="half" idx="11"/>
          </p:nvPr>
        </p:nvSpPr>
        <p:spPr>
          <a:xfrm>
            <a:off x="609600" y="1600203"/>
            <a:ext cx="10999373" cy="4525963"/>
          </a:xfrm>
          <a:prstGeom prst="rect">
            <a:avLst/>
          </a:prstGeom>
        </p:spPr>
        <p:txBody>
          <a:bodyPr vert="vert"/>
          <a:lstStyle>
            <a:lvl1pPr marL="446578" indent="-446578">
              <a:buSzPct val="100000"/>
              <a:buFont typeface="Arial" panose="020B0604020202020204" pitchFamily="34" charset="0"/>
              <a:buChar char="•"/>
              <a:defRPr sz="3125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042017" indent="-446578">
              <a:buClr>
                <a:schemeClr val="tx2"/>
              </a:buClr>
              <a:buFont typeface="Courier New" panose="02070309020205020404" pitchFamily="49" charset="0"/>
              <a:buChar char="o"/>
              <a:defRPr sz="260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637455" indent="-446578">
              <a:buClr>
                <a:schemeClr val="tx2"/>
              </a:buClr>
              <a:buFont typeface="Wingdings" panose="05000000000000000000" pitchFamily="2" charset="2"/>
              <a:buChar char="§"/>
              <a:defRPr sz="234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208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604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344"/>
            </a:lvl6pPr>
            <a:lvl7pPr>
              <a:defRPr sz="2344"/>
            </a:lvl7pPr>
            <a:lvl8pPr>
              <a:defRPr sz="2344"/>
            </a:lvl8pPr>
            <a:lvl9pPr>
              <a:defRPr sz="2344"/>
            </a:lvl9pPr>
          </a:lstStyle>
          <a:p>
            <a:pPr lvl="0"/>
            <a:r>
              <a:rPr lang="es-ES"/>
              <a:t>Clique para editar os estilos de texto </a:t>
            </a:r>
            <a:r>
              <a:rPr lang="es-ES" err="1"/>
              <a:t>mestres</a:t>
            </a:r>
            <a:endParaRPr lang="es-ES"/>
          </a:p>
          <a:p>
            <a:pPr lvl="1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2"/>
            <a:r>
              <a:rPr lang="es-ES" err="1"/>
              <a:t>Adiconar</a:t>
            </a:r>
            <a:r>
              <a:rPr lang="es-ES"/>
              <a:t> texto</a:t>
            </a:r>
          </a:p>
          <a:p>
            <a:pPr lvl="3"/>
            <a:r>
              <a:rPr lang="es-ES" err="1"/>
              <a:t>Adiconar</a:t>
            </a:r>
            <a:r>
              <a:rPr lang="es-ES"/>
              <a:t> texto</a:t>
            </a:r>
          </a:p>
        </p:txBody>
      </p:sp>
    </p:spTree>
    <p:extLst>
      <p:ext uri="{BB962C8B-B14F-4D97-AF65-F5344CB8AC3E}">
        <p14:creationId xmlns:p14="http://schemas.microsoft.com/office/powerpoint/2010/main" val="233783614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verde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Elipse"/>
          <p:cNvSpPr/>
          <p:nvPr userDrawn="1"/>
        </p:nvSpPr>
        <p:spPr>
          <a:xfrm rot="16200000">
            <a:off x="4895851" y="2995085"/>
            <a:ext cx="865716" cy="86571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37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Gill Sans" charset="0"/>
            </a:endParaRPr>
          </a:p>
        </p:txBody>
      </p:sp>
      <p:grpSp>
        <p:nvGrpSpPr>
          <p:cNvPr id="3" name="66 Grupo"/>
          <p:cNvGrpSpPr>
            <a:grpSpLocks/>
          </p:cNvGrpSpPr>
          <p:nvPr userDrawn="1"/>
        </p:nvGrpSpPr>
        <p:grpSpPr bwMode="auto">
          <a:xfrm rot="-5400000">
            <a:off x="5090584" y="3285067"/>
            <a:ext cx="575733" cy="287867"/>
            <a:chOff x="971600" y="4149080"/>
            <a:chExt cx="1440160" cy="720080"/>
          </a:xfrm>
        </p:grpSpPr>
        <p:sp>
          <p:nvSpPr>
            <p:cNvPr id="4" name="24 Triángulo isósceles"/>
            <p:cNvSpPr/>
            <p:nvPr/>
          </p:nvSpPr>
          <p:spPr>
            <a:xfrm rot="10800000" flipV="1">
              <a:off x="971600" y="4127901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3733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Gill Sans" charset="0"/>
              </a:endParaRPr>
            </a:p>
          </p:txBody>
        </p:sp>
        <p:sp>
          <p:nvSpPr>
            <p:cNvPr id="5" name="24 Triángulo isósceles"/>
            <p:cNvSpPr/>
            <p:nvPr/>
          </p:nvSpPr>
          <p:spPr>
            <a:xfrm rot="10800000">
              <a:off x="1712859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3733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34470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AMARILLO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D:\PROYECTOS\PLANTILLAS\PLANTILLAS PPT\Propuesta plantillas referencia\paso a PPT\Recursos\ESCOLHEMOS TUDO\TUDO AZUL AMARILLO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5684" y="5822952"/>
            <a:ext cx="2207683" cy="18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2 Rectángulo"/>
          <p:cNvSpPr/>
          <p:nvPr userDrawn="1"/>
        </p:nvSpPr>
        <p:spPr>
          <a:xfrm>
            <a:off x="334434" y="332318"/>
            <a:ext cx="11523133" cy="6167967"/>
          </a:xfrm>
          <a:prstGeom prst="rect">
            <a:avLst/>
          </a:prstGeom>
          <a:noFill/>
          <a:ln w="4445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s-ES" sz="3733">
              <a:solidFill>
                <a:srgbClr val="FFFFFF"/>
              </a:solidFill>
              <a:sym typeface="Gill Sans" charset="0"/>
            </a:endParaRPr>
          </a:p>
        </p:txBody>
      </p:sp>
      <p:pic>
        <p:nvPicPr>
          <p:cNvPr id="4" name="Picture 2" descr="D:\PROYECTOS\PLANTILLAS\PLANTILLAS PPT\Propuesta plantillas referencia\paso a PPT\Recursos\CUBO\desplegable-cubo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5384" y="4004733"/>
            <a:ext cx="1871133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asted-image.pdf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01" y="645585"/>
            <a:ext cx="4747684" cy="1043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533866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naranja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Elipse"/>
          <p:cNvSpPr/>
          <p:nvPr userDrawn="1"/>
        </p:nvSpPr>
        <p:spPr>
          <a:xfrm rot="16200000">
            <a:off x="4895851" y="2995085"/>
            <a:ext cx="865716" cy="86571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37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Gill Sans" charset="0"/>
            </a:endParaRPr>
          </a:p>
        </p:txBody>
      </p:sp>
      <p:grpSp>
        <p:nvGrpSpPr>
          <p:cNvPr id="3" name="66 Grupo"/>
          <p:cNvGrpSpPr>
            <a:grpSpLocks/>
          </p:cNvGrpSpPr>
          <p:nvPr userDrawn="1"/>
        </p:nvGrpSpPr>
        <p:grpSpPr bwMode="auto">
          <a:xfrm rot="-5400000">
            <a:off x="5090584" y="3285067"/>
            <a:ext cx="575733" cy="287867"/>
            <a:chOff x="971600" y="4149080"/>
            <a:chExt cx="1440160" cy="720080"/>
          </a:xfrm>
        </p:grpSpPr>
        <p:sp>
          <p:nvSpPr>
            <p:cNvPr id="4" name="24 Triángulo isósceles"/>
            <p:cNvSpPr/>
            <p:nvPr/>
          </p:nvSpPr>
          <p:spPr>
            <a:xfrm rot="10800000" flipV="1">
              <a:off x="971600" y="4127901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3733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Gill Sans" charset="0"/>
              </a:endParaRPr>
            </a:p>
          </p:txBody>
        </p:sp>
        <p:sp>
          <p:nvSpPr>
            <p:cNvPr id="5" name="24 Triángulo isósceles"/>
            <p:cNvSpPr/>
            <p:nvPr/>
          </p:nvSpPr>
          <p:spPr>
            <a:xfrm rot="10800000">
              <a:off x="1712859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3733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39070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azul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Elipse"/>
          <p:cNvSpPr/>
          <p:nvPr userDrawn="1"/>
        </p:nvSpPr>
        <p:spPr>
          <a:xfrm rot="16200000">
            <a:off x="4895851" y="2995085"/>
            <a:ext cx="865716" cy="86571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37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Gill Sans" charset="0"/>
            </a:endParaRPr>
          </a:p>
        </p:txBody>
      </p:sp>
      <p:grpSp>
        <p:nvGrpSpPr>
          <p:cNvPr id="3" name="66 Grupo"/>
          <p:cNvGrpSpPr>
            <a:grpSpLocks/>
          </p:cNvGrpSpPr>
          <p:nvPr userDrawn="1"/>
        </p:nvGrpSpPr>
        <p:grpSpPr bwMode="auto">
          <a:xfrm rot="-5400000">
            <a:off x="5090584" y="3285067"/>
            <a:ext cx="575733" cy="287867"/>
            <a:chOff x="971600" y="4149080"/>
            <a:chExt cx="1440160" cy="720080"/>
          </a:xfrm>
        </p:grpSpPr>
        <p:sp>
          <p:nvSpPr>
            <p:cNvPr id="4" name="24 Triángulo isósceles"/>
            <p:cNvSpPr/>
            <p:nvPr/>
          </p:nvSpPr>
          <p:spPr>
            <a:xfrm rot="10800000" flipV="1">
              <a:off x="971600" y="4127901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3733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Gill Sans" charset="0"/>
              </a:endParaRPr>
            </a:p>
          </p:txBody>
        </p:sp>
        <p:sp>
          <p:nvSpPr>
            <p:cNvPr id="5" name="24 Triángulo isósceles"/>
            <p:cNvSpPr/>
            <p:nvPr/>
          </p:nvSpPr>
          <p:spPr>
            <a:xfrm rot="10800000">
              <a:off x="1712859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3733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7391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fuxia 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Elipse"/>
          <p:cNvSpPr/>
          <p:nvPr userDrawn="1"/>
        </p:nvSpPr>
        <p:spPr>
          <a:xfrm rot="16200000">
            <a:off x="4895851" y="2995085"/>
            <a:ext cx="865716" cy="86571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37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Gill Sans" charset="0"/>
            </a:endParaRPr>
          </a:p>
        </p:txBody>
      </p:sp>
      <p:grpSp>
        <p:nvGrpSpPr>
          <p:cNvPr id="3" name="66 Grupo"/>
          <p:cNvGrpSpPr>
            <a:grpSpLocks/>
          </p:cNvGrpSpPr>
          <p:nvPr userDrawn="1"/>
        </p:nvGrpSpPr>
        <p:grpSpPr bwMode="auto">
          <a:xfrm rot="-5400000">
            <a:off x="5090584" y="3285067"/>
            <a:ext cx="575733" cy="287867"/>
            <a:chOff x="971600" y="4149080"/>
            <a:chExt cx="1440160" cy="720080"/>
          </a:xfrm>
        </p:grpSpPr>
        <p:sp>
          <p:nvSpPr>
            <p:cNvPr id="4" name="24 Triángulo isósceles"/>
            <p:cNvSpPr/>
            <p:nvPr/>
          </p:nvSpPr>
          <p:spPr>
            <a:xfrm rot="10800000" flipV="1">
              <a:off x="971600" y="4127901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3733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Gill Sans" charset="0"/>
              </a:endParaRPr>
            </a:p>
          </p:txBody>
        </p:sp>
        <p:sp>
          <p:nvSpPr>
            <p:cNvPr id="5" name="24 Triángulo isósceles"/>
            <p:cNvSpPr/>
            <p:nvPr/>
          </p:nvSpPr>
          <p:spPr>
            <a:xfrm rot="10800000">
              <a:off x="1712859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3733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0888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amarillo E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Elipse"/>
          <p:cNvSpPr/>
          <p:nvPr userDrawn="1"/>
        </p:nvSpPr>
        <p:spPr>
          <a:xfrm rot="16200000">
            <a:off x="4895851" y="2995085"/>
            <a:ext cx="865716" cy="86571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37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Gill Sans" charset="0"/>
            </a:endParaRPr>
          </a:p>
        </p:txBody>
      </p:sp>
      <p:grpSp>
        <p:nvGrpSpPr>
          <p:cNvPr id="3" name="66 Grupo"/>
          <p:cNvGrpSpPr>
            <a:grpSpLocks/>
          </p:cNvGrpSpPr>
          <p:nvPr userDrawn="1"/>
        </p:nvGrpSpPr>
        <p:grpSpPr bwMode="auto">
          <a:xfrm rot="-5400000">
            <a:off x="5090584" y="3285067"/>
            <a:ext cx="575733" cy="287867"/>
            <a:chOff x="971600" y="4149080"/>
            <a:chExt cx="1440160" cy="720080"/>
          </a:xfrm>
        </p:grpSpPr>
        <p:sp>
          <p:nvSpPr>
            <p:cNvPr id="4" name="24 Triángulo isósceles"/>
            <p:cNvSpPr/>
            <p:nvPr/>
          </p:nvSpPr>
          <p:spPr>
            <a:xfrm rot="10800000" flipV="1">
              <a:off x="971600" y="4127901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tx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3733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Gill Sans" charset="0"/>
              </a:endParaRPr>
            </a:p>
          </p:txBody>
        </p:sp>
        <p:sp>
          <p:nvSpPr>
            <p:cNvPr id="5" name="24 Triángulo isósceles"/>
            <p:cNvSpPr/>
            <p:nvPr/>
          </p:nvSpPr>
          <p:spPr>
            <a:xfrm rot="10800000">
              <a:off x="1712859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tx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3733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4845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 - 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65967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image" Target="../media/image1.png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82.xml"/><Relationship Id="rId5" Type="http://schemas.openxmlformats.org/officeDocument/2006/relationships/image" Target="../media/image1.png"/><Relationship Id="rId4" Type="http://schemas.openxmlformats.org/officeDocument/2006/relationships/image" Target="../media/image15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85.xml"/><Relationship Id="rId7" Type="http://schemas.openxmlformats.org/officeDocument/2006/relationships/theme" Target="../theme/theme12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6.xml"/><Relationship Id="rId9" Type="http://schemas.openxmlformats.org/officeDocument/2006/relationships/image" Target="../media/image1.png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1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5" Type="http://schemas.openxmlformats.org/officeDocument/2006/relationships/slideLayout" Target="../slideLayouts/slideLayout93.xml"/><Relationship Id="rId4" Type="http://schemas.openxmlformats.org/officeDocument/2006/relationships/slideLayout" Target="../slideLayouts/slideLayout9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4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9.pn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3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6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62.xml"/><Relationship Id="rId4" Type="http://schemas.openxmlformats.org/officeDocument/2006/relationships/slideLayout" Target="../slideLayouts/slideLayout6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7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66.xml"/><Relationship Id="rId9" Type="http://schemas.openxmlformats.org/officeDocument/2006/relationships/image" Target="../media/image1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6 Rectángulo"/>
          <p:cNvSpPr>
            <a:spLocks noChangeArrowheads="1"/>
          </p:cNvSpPr>
          <p:nvPr userDrawn="1"/>
        </p:nvSpPr>
        <p:spPr bwMode="auto">
          <a:xfrm>
            <a:off x="0" y="1"/>
            <a:ext cx="143933" cy="6887633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ES" altLang="es-ES" sz="3733" u="sng"/>
          </a:p>
        </p:txBody>
      </p:sp>
      <p:sp>
        <p:nvSpPr>
          <p:cNvPr id="2" name="7 Rectángulo"/>
          <p:cNvSpPr>
            <a:spLocks noChangeArrowheads="1"/>
          </p:cNvSpPr>
          <p:nvPr userDrawn="1"/>
        </p:nvSpPr>
        <p:spPr bwMode="auto">
          <a:xfrm>
            <a:off x="0" y="1"/>
            <a:ext cx="143933" cy="1267884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ES" altLang="es-ES" sz="3733" u="sng"/>
          </a:p>
        </p:txBody>
      </p:sp>
      <p:sp>
        <p:nvSpPr>
          <p:cNvPr id="11" name="Rectangle 3"/>
          <p:cNvSpPr>
            <a:spLocks/>
          </p:cNvSpPr>
          <p:nvPr userDrawn="1"/>
        </p:nvSpPr>
        <p:spPr bwMode="auto">
          <a:xfrm>
            <a:off x="5908246" y="6214534"/>
            <a:ext cx="307777" cy="225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49329207-B30C-4C83-8B4D-D5E77301969B}" type="slidenum">
              <a:rPr lang="es-ES_tradnl" altLang="es-ES" sz="1467" smtClean="0">
                <a:solidFill>
                  <a:srgbClr val="008597"/>
                </a:solidFill>
                <a:latin typeface="Calibri" charset="0"/>
                <a:ea typeface="MS PGothic" charset="-128"/>
                <a:cs typeface="Calibri" charset="0"/>
                <a:sym typeface="Arial" charset="0"/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s-ES_tradnl" altLang="es-ES" sz="1467">
              <a:solidFill>
                <a:srgbClr val="008597"/>
              </a:solidFill>
              <a:latin typeface="Calibri" charset="0"/>
              <a:ea typeface="MS PGothic" charset="-128"/>
              <a:cs typeface="Calibri" charset="0"/>
              <a:sym typeface="Arial" charset="0"/>
            </a:endParaRPr>
          </a:p>
        </p:txBody>
      </p:sp>
      <p:grpSp>
        <p:nvGrpSpPr>
          <p:cNvPr id="3" name="59 Grupo"/>
          <p:cNvGrpSpPr>
            <a:grpSpLocks/>
          </p:cNvGrpSpPr>
          <p:nvPr userDrawn="1"/>
        </p:nvGrpSpPr>
        <p:grpSpPr bwMode="auto">
          <a:xfrm>
            <a:off x="5774267" y="6309784"/>
            <a:ext cx="575733" cy="287867"/>
            <a:chOff x="971600" y="4149080"/>
            <a:chExt cx="1440160" cy="720080"/>
          </a:xfrm>
        </p:grpSpPr>
        <p:sp>
          <p:nvSpPr>
            <p:cNvPr id="14" name="24 Triángulo isósceles"/>
            <p:cNvSpPr/>
            <p:nvPr userDrawn="1"/>
          </p:nvSpPr>
          <p:spPr>
            <a:xfrm rot="10800000" flipV="1">
              <a:off x="97160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21C7D8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sz="3733">
                <a:solidFill>
                  <a:srgbClr val="008597"/>
                </a:solidFill>
                <a:sym typeface="Gill Sans" charset="0"/>
              </a:endParaRPr>
            </a:p>
          </p:txBody>
        </p:sp>
        <p:sp>
          <p:nvSpPr>
            <p:cNvPr id="17" name="24 Triángulo isósceles"/>
            <p:cNvSpPr/>
            <p:nvPr/>
          </p:nvSpPr>
          <p:spPr>
            <a:xfrm rot="10800000">
              <a:off x="169168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21C7D8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sz="3733">
                <a:solidFill>
                  <a:srgbClr val="008597"/>
                </a:solidFill>
                <a:sym typeface="Gill Sans" charset="0"/>
              </a:endParaRPr>
            </a:p>
          </p:txBody>
        </p:sp>
      </p:grpSp>
      <p:pic>
        <p:nvPicPr>
          <p:cNvPr id="1030" name="Picture 10" descr="D:\PROYECTOS\PLANTILLAS\PLANTILLAS PPT\Propuesta plantillas referencia\paso a PPT\Recursos\ESCOLHEMOS TUDO\TUDO AZUL AZUL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234" y="6400801"/>
            <a:ext cx="2207684" cy="18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asted-image.pdf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2285" y="6223001"/>
            <a:ext cx="2000249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56428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5pPr>
      <a:lvl6pPr marL="609585" algn="l" rtl="0" fontAlgn="base"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6pPr>
      <a:lvl7pPr marL="1219170" algn="l" rtl="0" fontAlgn="base"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7pPr>
      <a:lvl8pPr marL="1828754" algn="l" rtl="0" fontAlgn="base"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8pPr>
      <a:lvl9pPr marL="2438339" algn="l" rtl="0" fontAlgn="base"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200000"/>
        <a:defRPr sz="3200">
          <a:solidFill>
            <a:srgbClr val="0095A1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marL="60958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defRPr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2pPr>
      <a:lvl3pPr marL="121917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defRPr sz="2133"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har char="–"/>
        <a:defRPr sz="2667">
          <a:solidFill>
            <a:schemeClr val="tx1"/>
          </a:solidFill>
          <a:latin typeface="+mn-lt"/>
          <a:ea typeface="MS PGothic" pitchFamily="34" charset="-128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ea typeface="MS PGothic" pitchFamily="34" charset="-128"/>
        </a:defRPr>
      </a:lvl5pPr>
      <a:lvl6pPr marL="3352716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6pPr>
      <a:lvl7pPr marL="3962301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7pPr>
      <a:lvl8pPr marL="4571886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8pPr>
      <a:lvl9pPr marL="5181470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6 Rectángulo"/>
          <p:cNvSpPr>
            <a:spLocks noChangeArrowheads="1"/>
          </p:cNvSpPr>
          <p:nvPr userDrawn="1"/>
        </p:nvSpPr>
        <p:spPr bwMode="auto">
          <a:xfrm>
            <a:off x="1" y="5"/>
            <a:ext cx="143933" cy="6888163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marL="0" marR="0" lvl="0" indent="0" algn="ctr" defTabSz="9167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2734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ヒラギノ角ゴ ProN W3" charset="-128"/>
              <a:cs typeface="+mn-cs"/>
              <a:sym typeface="Gill Sans" charset="0"/>
            </a:endParaRPr>
          </a:p>
        </p:txBody>
      </p:sp>
      <p:sp>
        <p:nvSpPr>
          <p:cNvPr id="2" name="7 Rectángulo"/>
          <p:cNvSpPr>
            <a:spLocks noChangeArrowheads="1"/>
          </p:cNvSpPr>
          <p:nvPr userDrawn="1"/>
        </p:nvSpPr>
        <p:spPr bwMode="auto">
          <a:xfrm>
            <a:off x="1" y="6"/>
            <a:ext cx="143933" cy="1268414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marL="0" marR="0" lvl="0" indent="0" algn="ctr" defTabSz="9167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2734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ヒラギノ角ゴ ProN W3" charset="-128"/>
              <a:cs typeface="+mn-cs"/>
              <a:sym typeface="Gill Sans" charset="0"/>
            </a:endParaRPr>
          </a:p>
        </p:txBody>
      </p:sp>
      <p:sp>
        <p:nvSpPr>
          <p:cNvPr id="1028" name="Rectangle 3"/>
          <p:cNvSpPr>
            <a:spLocks/>
          </p:cNvSpPr>
          <p:nvPr userDrawn="1"/>
        </p:nvSpPr>
        <p:spPr bwMode="auto">
          <a:xfrm>
            <a:off x="5981660" y="6351594"/>
            <a:ext cx="228683" cy="165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pPr marL="0" marR="0" lvl="0" indent="0" algn="ctr" defTabSz="9167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2BA1B4A-DF42-4B46-8140-B037C78070A3}" type="slidenum">
              <a:rPr kumimoji="0" lang="es-ES_tradnl" altLang="es-ES" sz="1075" b="0" i="0" u="none" strike="noStrike" kern="1200" cap="none" spc="0" normalizeH="0" baseline="0" noProof="0" smtClean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  <a:sym typeface="Arial" panose="020B0604020202020204" pitchFamily="34" charset="0"/>
              </a:rPr>
              <a:pPr marL="0" marR="0" lvl="0" indent="0" algn="ctr" defTabSz="9167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_tradnl" altLang="es-ES" sz="1075" b="0" i="0" u="none" strike="noStrike" kern="1200" cap="none" spc="0" normalizeH="0" baseline="0" noProof="0">
              <a:ln>
                <a:noFill/>
              </a:ln>
              <a:solidFill>
                <a:srgbClr val="008597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grpSp>
        <p:nvGrpSpPr>
          <p:cNvPr id="3" name="59 Grupo"/>
          <p:cNvGrpSpPr>
            <a:grpSpLocks/>
          </p:cNvGrpSpPr>
          <p:nvPr userDrawn="1"/>
        </p:nvGrpSpPr>
        <p:grpSpPr bwMode="auto">
          <a:xfrm>
            <a:off x="5808137" y="6423027"/>
            <a:ext cx="575733" cy="215900"/>
            <a:chOff x="971600" y="4149080"/>
            <a:chExt cx="1440160" cy="720080"/>
          </a:xfrm>
        </p:grpSpPr>
        <p:sp>
          <p:nvSpPr>
            <p:cNvPr id="15" name="24 Triángulo isósceles"/>
            <p:cNvSpPr/>
            <p:nvPr userDrawn="1"/>
          </p:nvSpPr>
          <p:spPr>
            <a:xfrm rot="10800000" flipV="1">
              <a:off x="97160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21C7D8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9167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734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ill Sans" charset="0"/>
              </a:endParaRPr>
            </a:p>
          </p:txBody>
        </p:sp>
        <p:sp>
          <p:nvSpPr>
            <p:cNvPr id="16" name="24 Triángulo isósceles"/>
            <p:cNvSpPr/>
            <p:nvPr/>
          </p:nvSpPr>
          <p:spPr>
            <a:xfrm rot="10800000">
              <a:off x="169168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21C7D8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9167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734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ill Sans" charset="0"/>
              </a:endParaRPr>
            </a:p>
          </p:txBody>
        </p:sp>
      </p:grpSp>
      <p:pic>
        <p:nvPicPr>
          <p:cNvPr id="1030" name="Picture 10" descr="D:\PROYECTOS\PLANTILLAS\PLANTILLAS PPT\Propuesta plantillas referencia\paso a PPT\Recursos\ESCOLHEMOS TUDO\TUDO AZUL AZUL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9667" y="6507174"/>
            <a:ext cx="1920000" cy="159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asted-image.pdf"/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5355" r="42631" b="-3711"/>
          <a:stretch/>
        </p:blipFill>
        <p:spPr bwMode="auto">
          <a:xfrm>
            <a:off x="10816076" y="6356352"/>
            <a:ext cx="1136577" cy="433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7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6777" fontAlgn="base">
              <a:spcBef>
                <a:spcPct val="0"/>
              </a:spcBef>
              <a:spcAft>
                <a:spcPct val="0"/>
              </a:spcAft>
              <a:defRPr/>
            </a:pPr>
            <a:fld id="{9D0A7F54-2702-4872-BE9C-06EB0B1F08A9}" type="datetimeFigureOut">
              <a:rPr lang="pt-BR" smtClean="0">
                <a:solidFill>
                  <a:srgbClr val="008597">
                    <a:tint val="75000"/>
                  </a:srgbClr>
                </a:solidFill>
                <a:ea typeface="ヒラギノ角ゴ ProN W3" charset="-128"/>
                <a:sym typeface="Gill Sans" charset="0"/>
              </a:rPr>
              <a:pPr defTabSz="916777" fontAlgn="base">
                <a:spcBef>
                  <a:spcPct val="0"/>
                </a:spcBef>
                <a:spcAft>
                  <a:spcPct val="0"/>
                </a:spcAft>
                <a:defRPr/>
              </a:pPr>
              <a:t>27/10/2017</a:t>
            </a:fld>
            <a:endParaRPr lang="pt-BR">
              <a:solidFill>
                <a:srgbClr val="008597">
                  <a:tint val="75000"/>
                </a:srgbClr>
              </a:solidFill>
              <a:ea typeface="ヒラギノ角ゴ ProN W3" charset="-128"/>
              <a:sym typeface="Gill Sans" charset="0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2" y="6356352"/>
            <a:ext cx="41148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6777" fontAlgn="base">
              <a:spcBef>
                <a:spcPct val="0"/>
              </a:spcBef>
              <a:spcAft>
                <a:spcPct val="0"/>
              </a:spcAft>
              <a:defRPr/>
            </a:pPr>
            <a:endParaRPr lang="pt-BR">
              <a:solidFill>
                <a:srgbClr val="008597">
                  <a:tint val="75000"/>
                </a:srgbClr>
              </a:solidFill>
              <a:ea typeface="ヒラギノ角ゴ ProN W3" charset="-128"/>
              <a:sym typeface="Gill Sans" charset="0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1" y="6356352"/>
            <a:ext cx="2743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6777" fontAlgn="base">
              <a:spcBef>
                <a:spcPct val="0"/>
              </a:spcBef>
              <a:spcAft>
                <a:spcPct val="0"/>
              </a:spcAft>
              <a:defRPr/>
            </a:pPr>
            <a:fld id="{4AE70EE3-F0A5-409C-88FA-6EF5DD055643}" type="slidenum">
              <a:rPr lang="pt-BR" smtClean="0">
                <a:solidFill>
                  <a:srgbClr val="008597">
                    <a:tint val="75000"/>
                  </a:srgbClr>
                </a:solidFill>
                <a:ea typeface="ヒラギノ角ゴ ProN W3" charset="-128"/>
                <a:sym typeface="Gill Sans" charset="0"/>
              </a:rPr>
              <a:pPr defTabSz="916777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>
              <a:solidFill>
                <a:srgbClr val="008597">
                  <a:tint val="75000"/>
                </a:srgbClr>
              </a:solidFill>
              <a:ea typeface="ヒラギノ角ゴ ProN W3" charset="-128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0055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4" r:id="rId9"/>
    <p:sldLayoutId id="2147483775" r:id="rId10"/>
    <p:sldLayoutId id="2147483776" r:id="rId11"/>
    <p:sldLayoutId id="2147483778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515">
          <a:solidFill>
            <a:schemeClr val="tx2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515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515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515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515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5pPr>
      <a:lvl6pPr marL="446361" algn="l" rtl="0" fontAlgn="base">
        <a:spcBef>
          <a:spcPct val="0"/>
        </a:spcBef>
        <a:spcAft>
          <a:spcPct val="0"/>
        </a:spcAft>
        <a:defRPr sz="2734">
          <a:solidFill>
            <a:schemeClr val="tx2"/>
          </a:solidFill>
          <a:latin typeface="Arial" pitchFamily="34" charset="0"/>
        </a:defRPr>
      </a:lvl6pPr>
      <a:lvl7pPr marL="892718" algn="l" rtl="0" fontAlgn="base">
        <a:spcBef>
          <a:spcPct val="0"/>
        </a:spcBef>
        <a:spcAft>
          <a:spcPct val="0"/>
        </a:spcAft>
        <a:defRPr sz="2734">
          <a:solidFill>
            <a:schemeClr val="tx2"/>
          </a:solidFill>
          <a:latin typeface="Arial" pitchFamily="34" charset="0"/>
        </a:defRPr>
      </a:lvl7pPr>
      <a:lvl8pPr marL="1339078" algn="l" rtl="0" fontAlgn="base">
        <a:spcBef>
          <a:spcPct val="0"/>
        </a:spcBef>
        <a:spcAft>
          <a:spcPct val="0"/>
        </a:spcAft>
        <a:defRPr sz="2734">
          <a:solidFill>
            <a:schemeClr val="tx2"/>
          </a:solidFill>
          <a:latin typeface="Arial" pitchFamily="34" charset="0"/>
        </a:defRPr>
      </a:lvl8pPr>
      <a:lvl9pPr marL="1785436" algn="l" rtl="0" fontAlgn="base">
        <a:spcBef>
          <a:spcPct val="0"/>
        </a:spcBef>
        <a:spcAft>
          <a:spcPct val="0"/>
        </a:spcAft>
        <a:defRPr sz="2734">
          <a:solidFill>
            <a:schemeClr val="tx2"/>
          </a:solidFill>
          <a:latin typeface="Arial" pitchFamily="34" charset="0"/>
        </a:defRPr>
      </a:lvl9pPr>
    </p:titleStyle>
    <p:bodyStyle>
      <a:lvl1pPr marL="334768" indent="-33476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200000"/>
        <a:defRPr sz="2343">
          <a:solidFill>
            <a:srgbClr val="0095A1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marL="446361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defRPr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2pPr>
      <a:lvl3pPr marL="89271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defRPr sz="1562"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3pPr>
      <a:lvl4pPr marL="1562256" indent="-223180" algn="l" rtl="0" eaLnBrk="0" fontAlgn="base" hangingPunct="0">
        <a:spcBef>
          <a:spcPct val="20000"/>
        </a:spcBef>
        <a:spcAft>
          <a:spcPct val="0"/>
        </a:spcAft>
        <a:buChar char="–"/>
        <a:defRPr sz="1952">
          <a:solidFill>
            <a:schemeClr val="tx1"/>
          </a:solidFill>
          <a:latin typeface="+mn-lt"/>
          <a:ea typeface="MS PGothic" pitchFamily="34" charset="-128"/>
        </a:defRPr>
      </a:lvl4pPr>
      <a:lvl5pPr marL="2008617" indent="-223180" algn="l" rtl="0" eaLnBrk="0" fontAlgn="base" hangingPunct="0">
        <a:spcBef>
          <a:spcPct val="20000"/>
        </a:spcBef>
        <a:spcAft>
          <a:spcPct val="0"/>
        </a:spcAft>
        <a:buChar char="»"/>
        <a:defRPr sz="1952">
          <a:solidFill>
            <a:schemeClr val="tx1"/>
          </a:solidFill>
          <a:latin typeface="+mn-lt"/>
          <a:ea typeface="MS PGothic" pitchFamily="34" charset="-128"/>
        </a:defRPr>
      </a:lvl5pPr>
      <a:lvl6pPr marL="2454975" indent="-223180" algn="l" rtl="0" fontAlgn="base">
        <a:spcBef>
          <a:spcPct val="20000"/>
        </a:spcBef>
        <a:spcAft>
          <a:spcPct val="0"/>
        </a:spcAft>
        <a:buChar char="»"/>
        <a:defRPr sz="1952">
          <a:solidFill>
            <a:schemeClr val="tx1"/>
          </a:solidFill>
          <a:latin typeface="+mn-lt"/>
        </a:defRPr>
      </a:lvl6pPr>
      <a:lvl7pPr marL="2901334" indent="-223180" algn="l" rtl="0" fontAlgn="base">
        <a:spcBef>
          <a:spcPct val="20000"/>
        </a:spcBef>
        <a:spcAft>
          <a:spcPct val="0"/>
        </a:spcAft>
        <a:buChar char="»"/>
        <a:defRPr sz="1952">
          <a:solidFill>
            <a:schemeClr val="tx1"/>
          </a:solidFill>
          <a:latin typeface="+mn-lt"/>
        </a:defRPr>
      </a:lvl7pPr>
      <a:lvl8pPr marL="3347693" indent="-223180" algn="l" rtl="0" fontAlgn="base">
        <a:spcBef>
          <a:spcPct val="20000"/>
        </a:spcBef>
        <a:spcAft>
          <a:spcPct val="0"/>
        </a:spcAft>
        <a:buChar char="»"/>
        <a:defRPr sz="1952">
          <a:solidFill>
            <a:schemeClr val="tx1"/>
          </a:solidFill>
          <a:latin typeface="+mn-lt"/>
        </a:defRPr>
      </a:lvl8pPr>
      <a:lvl9pPr marL="3794054" indent="-223180" algn="l" rtl="0" fontAlgn="base">
        <a:spcBef>
          <a:spcPct val="20000"/>
        </a:spcBef>
        <a:spcAft>
          <a:spcPct val="0"/>
        </a:spcAft>
        <a:buChar char="»"/>
        <a:defRPr sz="1952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892718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361" algn="l" defTabSz="892718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718" algn="l" defTabSz="892718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9078" algn="l" defTabSz="892718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5436" algn="l" defTabSz="892718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1796" algn="l" defTabSz="892718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8153" algn="l" defTabSz="892718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4514" algn="l" defTabSz="892718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70873" algn="l" defTabSz="892718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1201" y="1989668"/>
            <a:ext cx="3132667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2" descr="D:\PROYECTOS\PLANTILLAS\PLANTILLAS PPT\Propuesta plantillas referencia\paso a PPT\Recursos\CUBO\desplegable-cubo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2551" y="4301067"/>
            <a:ext cx="1871133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 descr="D:\PROYECTOS\PLANTILLAS\PLANTILLAS PPT\Propuesta plantillas referencia\paso a PPT\Recursos\ESCOLHEMOS TUDO\TUDO AZUL AZUL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2852" y="6117168"/>
            <a:ext cx="2207682" cy="18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4306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573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731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731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731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731">
          <a:solidFill>
            <a:schemeClr val="tx1"/>
          </a:solidFill>
          <a:latin typeface="Calibri" pitchFamily="34" charset="0"/>
        </a:defRPr>
      </a:lvl5pPr>
      <a:lvl6pPr marL="595493" algn="ctr" rtl="0" fontAlgn="base">
        <a:spcBef>
          <a:spcPct val="0"/>
        </a:spcBef>
        <a:spcAft>
          <a:spcPct val="0"/>
        </a:spcAft>
        <a:defRPr sz="5731">
          <a:solidFill>
            <a:schemeClr val="tx1"/>
          </a:solidFill>
          <a:latin typeface="Calibri" pitchFamily="34" charset="0"/>
        </a:defRPr>
      </a:lvl6pPr>
      <a:lvl7pPr marL="1190986" algn="ctr" rtl="0" fontAlgn="base">
        <a:spcBef>
          <a:spcPct val="0"/>
        </a:spcBef>
        <a:spcAft>
          <a:spcPct val="0"/>
        </a:spcAft>
        <a:defRPr sz="5731">
          <a:solidFill>
            <a:schemeClr val="tx1"/>
          </a:solidFill>
          <a:latin typeface="Calibri" pitchFamily="34" charset="0"/>
        </a:defRPr>
      </a:lvl7pPr>
      <a:lvl8pPr marL="1786479" algn="ctr" rtl="0" fontAlgn="base">
        <a:spcBef>
          <a:spcPct val="0"/>
        </a:spcBef>
        <a:spcAft>
          <a:spcPct val="0"/>
        </a:spcAft>
        <a:defRPr sz="5731">
          <a:solidFill>
            <a:schemeClr val="tx1"/>
          </a:solidFill>
          <a:latin typeface="Calibri" pitchFamily="34" charset="0"/>
        </a:defRPr>
      </a:lvl8pPr>
      <a:lvl9pPr marL="2381971" algn="ctr" rtl="0" fontAlgn="base">
        <a:spcBef>
          <a:spcPct val="0"/>
        </a:spcBef>
        <a:spcAft>
          <a:spcPct val="0"/>
        </a:spcAft>
        <a:defRPr sz="5731">
          <a:solidFill>
            <a:schemeClr val="tx1"/>
          </a:solidFill>
          <a:latin typeface="Calibri" pitchFamily="34" charset="0"/>
        </a:defRPr>
      </a:lvl9pPr>
    </p:titleStyle>
    <p:bodyStyle>
      <a:lvl1pPr marL="446619" indent="-44661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168" kern="1200">
          <a:solidFill>
            <a:schemeClr val="tx1"/>
          </a:solidFill>
          <a:latin typeface="+mn-lt"/>
          <a:ea typeface="+mn-ea"/>
          <a:cs typeface="+mn-cs"/>
        </a:defRPr>
      </a:lvl1pPr>
      <a:lvl2pPr marL="967675" indent="-37218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646" kern="1200">
          <a:solidFill>
            <a:schemeClr val="tx1"/>
          </a:solidFill>
          <a:latin typeface="+mn-lt"/>
          <a:ea typeface="+mn-ea"/>
          <a:cs typeface="+mn-cs"/>
        </a:defRPr>
      </a:lvl2pPr>
      <a:lvl3pPr marL="1488732" indent="-29774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126" kern="1200">
          <a:solidFill>
            <a:schemeClr val="tx1"/>
          </a:solidFill>
          <a:latin typeface="+mn-lt"/>
          <a:ea typeface="+mn-ea"/>
          <a:cs typeface="+mn-cs"/>
        </a:defRPr>
      </a:lvl3pPr>
      <a:lvl4pPr marL="2084225" indent="-29774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05" kern="1200">
          <a:solidFill>
            <a:schemeClr val="tx1"/>
          </a:solidFill>
          <a:latin typeface="+mn-lt"/>
          <a:ea typeface="+mn-ea"/>
          <a:cs typeface="+mn-cs"/>
        </a:defRPr>
      </a:lvl4pPr>
      <a:lvl5pPr marL="2679717" indent="-29774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05" kern="1200">
          <a:solidFill>
            <a:schemeClr val="tx1"/>
          </a:solidFill>
          <a:latin typeface="+mn-lt"/>
          <a:ea typeface="+mn-ea"/>
          <a:cs typeface="+mn-cs"/>
        </a:defRPr>
      </a:lvl5pPr>
      <a:lvl6pPr marL="3275210" indent="-297746" algn="l" defTabSz="119098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5" kern="1200">
          <a:solidFill>
            <a:schemeClr val="tx1"/>
          </a:solidFill>
          <a:latin typeface="+mn-lt"/>
          <a:ea typeface="+mn-ea"/>
          <a:cs typeface="+mn-cs"/>
        </a:defRPr>
      </a:lvl6pPr>
      <a:lvl7pPr marL="3870703" indent="-297746" algn="l" defTabSz="119098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5" kern="1200">
          <a:solidFill>
            <a:schemeClr val="tx1"/>
          </a:solidFill>
          <a:latin typeface="+mn-lt"/>
          <a:ea typeface="+mn-ea"/>
          <a:cs typeface="+mn-cs"/>
        </a:defRPr>
      </a:lvl7pPr>
      <a:lvl8pPr marL="4466196" indent="-297746" algn="l" defTabSz="119098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5" kern="1200">
          <a:solidFill>
            <a:schemeClr val="tx1"/>
          </a:solidFill>
          <a:latin typeface="+mn-lt"/>
          <a:ea typeface="+mn-ea"/>
          <a:cs typeface="+mn-cs"/>
        </a:defRPr>
      </a:lvl8pPr>
      <a:lvl9pPr marL="5061688" indent="-297746" algn="l" defTabSz="119098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190986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1pPr>
      <a:lvl2pPr marL="595493" algn="l" defTabSz="1190986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2pPr>
      <a:lvl3pPr marL="1190986" algn="l" defTabSz="1190986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3pPr>
      <a:lvl4pPr marL="1786479" algn="l" defTabSz="1190986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4pPr>
      <a:lvl5pPr marL="2381971" algn="l" defTabSz="1190986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5pPr>
      <a:lvl6pPr marL="2977464" algn="l" defTabSz="1190986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6pPr>
      <a:lvl7pPr marL="3572957" algn="l" defTabSz="1190986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7pPr>
      <a:lvl8pPr marL="4168450" algn="l" defTabSz="1190986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8pPr>
      <a:lvl9pPr marL="4763942" algn="l" defTabSz="1190986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6 Rectángulo"/>
          <p:cNvSpPr>
            <a:spLocks noChangeArrowheads="1"/>
          </p:cNvSpPr>
          <p:nvPr userDrawn="1"/>
        </p:nvSpPr>
        <p:spPr bwMode="auto">
          <a:xfrm>
            <a:off x="0" y="2"/>
            <a:ext cx="143933" cy="6887633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3647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ヒラギノ角ゴ ProN W3" charset="-128"/>
              <a:cs typeface="+mn-cs"/>
              <a:sym typeface="Gill Sans" charset="0"/>
            </a:endParaRPr>
          </a:p>
        </p:txBody>
      </p:sp>
      <p:sp>
        <p:nvSpPr>
          <p:cNvPr id="2" name="7 Rectángulo"/>
          <p:cNvSpPr>
            <a:spLocks noChangeArrowheads="1"/>
          </p:cNvSpPr>
          <p:nvPr userDrawn="1"/>
        </p:nvSpPr>
        <p:spPr bwMode="auto">
          <a:xfrm>
            <a:off x="0" y="2"/>
            <a:ext cx="143933" cy="1267884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3647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ヒラギノ角ゴ ProN W3" charset="-128"/>
              <a:cs typeface="+mn-cs"/>
              <a:sym typeface="Gill Sans" charset="0"/>
            </a:endParaRPr>
          </a:p>
        </p:txBody>
      </p:sp>
      <p:pic>
        <p:nvPicPr>
          <p:cNvPr id="1028" name="Picture 6" descr="D:\PROYECTOS\RECURSOS\TELEFÓNICA\LOGOS Telefónica\TEL logo_pos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0384" y="6021919"/>
            <a:ext cx="1921933" cy="713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3"/>
          <p:cNvSpPr>
            <a:spLocks/>
          </p:cNvSpPr>
          <p:nvPr userDrawn="1"/>
        </p:nvSpPr>
        <p:spPr bwMode="auto">
          <a:xfrm>
            <a:off x="5913055" y="6214534"/>
            <a:ext cx="298159" cy="220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9pPr>
          </a:lstStyle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93C817E-7E68-4A22-A8E6-B4C99A74E212}" type="slidenum">
              <a:rPr kumimoji="0" lang="es-ES_tradnl" altLang="es-ES" sz="1432" b="0" i="0" u="none" strike="noStrike" kern="1200" cap="none" spc="0" normalizeH="0" baseline="0" noProof="0" smtClean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Calibri" charset="0"/>
                <a:ea typeface="MS PGothic" charset="-128"/>
                <a:cs typeface="Calibri" charset="0"/>
                <a:sym typeface="Arial" charset="0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_tradnl" altLang="es-ES" sz="1432" b="0" i="0" u="none" strike="noStrike" kern="1200" cap="none" spc="0" normalizeH="0" baseline="0" noProof="0">
              <a:ln>
                <a:noFill/>
              </a:ln>
              <a:solidFill>
                <a:srgbClr val="008597"/>
              </a:solidFill>
              <a:effectLst/>
              <a:uLnTx/>
              <a:uFillTx/>
              <a:latin typeface="Calibri" charset="0"/>
              <a:ea typeface="MS PGothic" charset="-128"/>
              <a:cs typeface="Calibri" charset="0"/>
              <a:sym typeface="Arial" charset="0"/>
            </a:endParaRPr>
          </a:p>
        </p:txBody>
      </p:sp>
      <p:grpSp>
        <p:nvGrpSpPr>
          <p:cNvPr id="1030" name="59 Grupo"/>
          <p:cNvGrpSpPr>
            <a:grpSpLocks/>
          </p:cNvGrpSpPr>
          <p:nvPr userDrawn="1"/>
        </p:nvGrpSpPr>
        <p:grpSpPr bwMode="auto">
          <a:xfrm>
            <a:off x="5774267" y="6309784"/>
            <a:ext cx="575733" cy="287867"/>
            <a:chOff x="971600" y="4149080"/>
            <a:chExt cx="1440160" cy="720080"/>
          </a:xfrm>
        </p:grpSpPr>
        <p:sp>
          <p:nvSpPr>
            <p:cNvPr id="14" name="24 Triángulo isósceles"/>
            <p:cNvSpPr/>
            <p:nvPr userDrawn="1"/>
          </p:nvSpPr>
          <p:spPr>
            <a:xfrm rot="10800000" flipV="1">
              <a:off x="97160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21C7D8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779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ill Sans" charset="0"/>
              </a:endParaRPr>
            </a:p>
          </p:txBody>
        </p:sp>
        <p:sp>
          <p:nvSpPr>
            <p:cNvPr id="17" name="24 Triángulo isósceles"/>
            <p:cNvSpPr/>
            <p:nvPr/>
          </p:nvSpPr>
          <p:spPr>
            <a:xfrm rot="10800000">
              <a:off x="169168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21C7D8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779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ill Sans" charset="0"/>
              </a:endParaRPr>
            </a:p>
          </p:txBody>
        </p:sp>
      </p:grpSp>
      <p:pic>
        <p:nvPicPr>
          <p:cNvPr id="1031" name="Picture 10" descr="D:\PROYECTOS\PLANTILLAS\PLANTILLAS PPT\Propuesta plantillas referencia\paso a PPT\Recursos\ESCOLHEMOS TUDO\TUDO AZUL AZUL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235" y="6400802"/>
            <a:ext cx="2207684" cy="18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1276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689">
          <a:solidFill>
            <a:schemeClr val="tx2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689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689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689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689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5pPr>
      <a:lvl6pPr marL="595438" algn="l" rtl="0" fontAlgn="base">
        <a:spcBef>
          <a:spcPct val="0"/>
        </a:spcBef>
        <a:spcAft>
          <a:spcPct val="0"/>
        </a:spcAft>
        <a:defRPr sz="3647">
          <a:solidFill>
            <a:schemeClr val="tx2"/>
          </a:solidFill>
          <a:latin typeface="Arial" pitchFamily="34" charset="0"/>
        </a:defRPr>
      </a:lvl6pPr>
      <a:lvl7pPr marL="1190877" algn="l" rtl="0" fontAlgn="base">
        <a:spcBef>
          <a:spcPct val="0"/>
        </a:spcBef>
        <a:spcAft>
          <a:spcPct val="0"/>
        </a:spcAft>
        <a:defRPr sz="3647">
          <a:solidFill>
            <a:schemeClr val="tx2"/>
          </a:solidFill>
          <a:latin typeface="Arial" pitchFamily="34" charset="0"/>
        </a:defRPr>
      </a:lvl7pPr>
      <a:lvl8pPr marL="1786315" algn="l" rtl="0" fontAlgn="base">
        <a:spcBef>
          <a:spcPct val="0"/>
        </a:spcBef>
        <a:spcAft>
          <a:spcPct val="0"/>
        </a:spcAft>
        <a:defRPr sz="3647">
          <a:solidFill>
            <a:schemeClr val="tx2"/>
          </a:solidFill>
          <a:latin typeface="Arial" pitchFamily="34" charset="0"/>
        </a:defRPr>
      </a:lvl8pPr>
      <a:lvl9pPr marL="2381754" algn="l" rtl="0" fontAlgn="base">
        <a:spcBef>
          <a:spcPct val="0"/>
        </a:spcBef>
        <a:spcAft>
          <a:spcPct val="0"/>
        </a:spcAft>
        <a:defRPr sz="3647">
          <a:solidFill>
            <a:schemeClr val="tx2"/>
          </a:solidFill>
          <a:latin typeface="Arial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200000"/>
        <a:defRPr sz="3125">
          <a:solidFill>
            <a:srgbClr val="0095A1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marL="59543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defRPr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2pPr>
      <a:lvl3pPr marL="1190877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defRPr sz="2084"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3pPr>
      <a:lvl4pPr marL="2084035" indent="-297719" algn="l" rtl="0" eaLnBrk="0" fontAlgn="base" hangingPunct="0">
        <a:spcBef>
          <a:spcPct val="20000"/>
        </a:spcBef>
        <a:spcAft>
          <a:spcPct val="0"/>
        </a:spcAft>
        <a:buChar char="–"/>
        <a:defRPr sz="2604">
          <a:solidFill>
            <a:schemeClr val="tx1"/>
          </a:solidFill>
          <a:latin typeface="+mn-lt"/>
          <a:ea typeface="MS PGothic" pitchFamily="34" charset="-128"/>
        </a:defRPr>
      </a:lvl4pPr>
      <a:lvl5pPr marL="2679472" indent="-297719" algn="l" rtl="0" eaLnBrk="0" fontAlgn="base" hangingPunct="0">
        <a:spcBef>
          <a:spcPct val="20000"/>
        </a:spcBef>
        <a:spcAft>
          <a:spcPct val="0"/>
        </a:spcAft>
        <a:buChar char="»"/>
        <a:defRPr sz="2604">
          <a:solidFill>
            <a:schemeClr val="tx1"/>
          </a:solidFill>
          <a:latin typeface="+mn-lt"/>
          <a:ea typeface="MS PGothic" pitchFamily="34" charset="-128"/>
        </a:defRPr>
      </a:lvl5pPr>
      <a:lvl6pPr marL="3274911" indent="-297719" algn="l" rtl="0" fontAlgn="base">
        <a:spcBef>
          <a:spcPct val="20000"/>
        </a:spcBef>
        <a:spcAft>
          <a:spcPct val="0"/>
        </a:spcAft>
        <a:buChar char="»"/>
        <a:defRPr sz="2604">
          <a:solidFill>
            <a:schemeClr val="tx1"/>
          </a:solidFill>
          <a:latin typeface="+mn-lt"/>
        </a:defRPr>
      </a:lvl6pPr>
      <a:lvl7pPr marL="3870349" indent="-297719" algn="l" rtl="0" fontAlgn="base">
        <a:spcBef>
          <a:spcPct val="20000"/>
        </a:spcBef>
        <a:spcAft>
          <a:spcPct val="0"/>
        </a:spcAft>
        <a:buChar char="»"/>
        <a:defRPr sz="2604">
          <a:solidFill>
            <a:schemeClr val="tx1"/>
          </a:solidFill>
          <a:latin typeface="+mn-lt"/>
        </a:defRPr>
      </a:lvl7pPr>
      <a:lvl8pPr marL="4465787" indent="-297719" algn="l" rtl="0" fontAlgn="base">
        <a:spcBef>
          <a:spcPct val="20000"/>
        </a:spcBef>
        <a:spcAft>
          <a:spcPct val="0"/>
        </a:spcAft>
        <a:buChar char="»"/>
        <a:defRPr sz="2604">
          <a:solidFill>
            <a:schemeClr val="tx1"/>
          </a:solidFill>
          <a:latin typeface="+mn-lt"/>
        </a:defRPr>
      </a:lvl8pPr>
      <a:lvl9pPr marL="5061225" indent="-297719" algn="l" rtl="0" fontAlgn="base">
        <a:spcBef>
          <a:spcPct val="20000"/>
        </a:spcBef>
        <a:spcAft>
          <a:spcPct val="0"/>
        </a:spcAft>
        <a:buChar char="»"/>
        <a:defRPr sz="2604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1190877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1pPr>
      <a:lvl2pPr marL="595438" algn="l" defTabSz="1190877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2pPr>
      <a:lvl3pPr marL="1190877" algn="l" defTabSz="1190877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3pPr>
      <a:lvl4pPr marL="1786315" algn="l" defTabSz="1190877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4pPr>
      <a:lvl5pPr marL="2381754" algn="l" defTabSz="1190877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5pPr>
      <a:lvl6pPr marL="2977192" algn="l" defTabSz="1190877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6pPr>
      <a:lvl7pPr marL="3572629" algn="l" defTabSz="1190877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7pPr>
      <a:lvl8pPr marL="4168069" algn="l" defTabSz="1190877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8pPr>
      <a:lvl9pPr marL="4763506" algn="l" defTabSz="1190877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5093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</p:sldLayoutIdLst>
  <p:txStyles>
    <p:titleStyle>
      <a:lvl1pPr algn="ctr" defTabSz="609585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MS PGothic" pitchFamily="34" charset="-128"/>
          <a:cs typeface="MS PGothic" panose="020B0600070205080204" pitchFamily="34" charset="-128"/>
        </a:defRPr>
      </a:lvl1pPr>
      <a:lvl2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itchFamily="34" charset="-128"/>
          <a:cs typeface="MS PGothic" panose="020B0600070205080204" pitchFamily="34" charset="-128"/>
        </a:defRPr>
      </a:lvl2pPr>
      <a:lvl3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itchFamily="34" charset="-128"/>
          <a:cs typeface="MS PGothic" panose="020B0600070205080204" pitchFamily="34" charset="-128"/>
        </a:defRPr>
      </a:lvl3pPr>
      <a:lvl4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itchFamily="34" charset="-128"/>
          <a:cs typeface="MS PGothic" panose="020B0600070205080204" pitchFamily="34" charset="-128"/>
        </a:defRPr>
      </a:lvl4pPr>
      <a:lvl5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itchFamily="34" charset="-128"/>
          <a:cs typeface="MS PGothic" panose="020B0600070205080204" pitchFamily="34" charset="-128"/>
        </a:defRPr>
      </a:lvl5pPr>
      <a:lvl6pPr marL="609585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1219170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828754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2438339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457189" indent="-457189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MS PGothic" pitchFamily="34" charset="-128"/>
          <a:cs typeface="MS PGothic" panose="020B0600070205080204" pitchFamily="34" charset="-128"/>
        </a:defRPr>
      </a:lvl1pPr>
      <a:lvl2pPr marL="990575" indent="-380990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523962" indent="-304792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2133547" indent="-304792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743131" indent="-304792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8946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</p:sldLayoutIdLst>
  <p:txStyles>
    <p:titleStyle>
      <a:lvl1pPr algn="ctr" defTabSz="609585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MS PGothic" pitchFamily="34" charset="-128"/>
          <a:cs typeface="MS PGothic" panose="020B0600070205080204" pitchFamily="34" charset="-128"/>
        </a:defRPr>
      </a:lvl1pPr>
      <a:lvl2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itchFamily="34" charset="-128"/>
          <a:cs typeface="MS PGothic" panose="020B0600070205080204" pitchFamily="34" charset="-128"/>
        </a:defRPr>
      </a:lvl2pPr>
      <a:lvl3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itchFamily="34" charset="-128"/>
          <a:cs typeface="MS PGothic" panose="020B0600070205080204" pitchFamily="34" charset="-128"/>
        </a:defRPr>
      </a:lvl3pPr>
      <a:lvl4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itchFamily="34" charset="-128"/>
          <a:cs typeface="MS PGothic" panose="020B0600070205080204" pitchFamily="34" charset="-128"/>
        </a:defRPr>
      </a:lvl4pPr>
      <a:lvl5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itchFamily="34" charset="-128"/>
          <a:cs typeface="MS PGothic" panose="020B0600070205080204" pitchFamily="34" charset="-128"/>
        </a:defRPr>
      </a:lvl5pPr>
      <a:lvl6pPr marL="609585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1219170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828754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2438339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457189" indent="-457189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MS PGothic" pitchFamily="34" charset="-128"/>
          <a:cs typeface="MS PGothic" panose="020B0600070205080204" pitchFamily="34" charset="-128"/>
        </a:defRPr>
      </a:lvl1pPr>
      <a:lvl2pPr marL="990575" indent="-380990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523962" indent="-304792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2133547" indent="-304792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743131" indent="-304792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6 Rectángulo"/>
          <p:cNvSpPr>
            <a:spLocks noChangeArrowheads="1"/>
          </p:cNvSpPr>
          <p:nvPr userDrawn="1"/>
        </p:nvSpPr>
        <p:spPr bwMode="auto">
          <a:xfrm>
            <a:off x="0" y="1"/>
            <a:ext cx="143933" cy="6887633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ES" altLang="es-ES" sz="3733" u="sng"/>
          </a:p>
        </p:txBody>
      </p:sp>
      <p:sp>
        <p:nvSpPr>
          <p:cNvPr id="2" name="7 Rectángulo"/>
          <p:cNvSpPr>
            <a:spLocks noChangeArrowheads="1"/>
          </p:cNvSpPr>
          <p:nvPr userDrawn="1"/>
        </p:nvSpPr>
        <p:spPr bwMode="auto">
          <a:xfrm>
            <a:off x="0" y="1"/>
            <a:ext cx="143933" cy="1267884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ES" altLang="es-ES" sz="3733" u="sng"/>
          </a:p>
        </p:txBody>
      </p:sp>
      <p:sp>
        <p:nvSpPr>
          <p:cNvPr id="11" name="Rectangle 3"/>
          <p:cNvSpPr>
            <a:spLocks/>
          </p:cNvSpPr>
          <p:nvPr userDrawn="1"/>
        </p:nvSpPr>
        <p:spPr bwMode="auto">
          <a:xfrm>
            <a:off x="5908246" y="6214534"/>
            <a:ext cx="307777" cy="225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74FD590A-B729-4F82-AA34-A1972DDAE80F}" type="slidenum">
              <a:rPr lang="es-ES_tradnl" altLang="es-ES" sz="1467">
                <a:solidFill>
                  <a:srgbClr val="008597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  <a:sym typeface="Arial" panose="020B0604020202020204" pitchFamily="34" charset="0"/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ES_tradnl" altLang="es-ES" sz="1467">
              <a:solidFill>
                <a:srgbClr val="008597"/>
              </a:solidFill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grpSp>
        <p:nvGrpSpPr>
          <p:cNvPr id="1031" name="59 Grupo"/>
          <p:cNvGrpSpPr>
            <a:grpSpLocks/>
          </p:cNvGrpSpPr>
          <p:nvPr userDrawn="1"/>
        </p:nvGrpSpPr>
        <p:grpSpPr bwMode="auto">
          <a:xfrm>
            <a:off x="5774267" y="6309784"/>
            <a:ext cx="575733" cy="287867"/>
            <a:chOff x="971600" y="4149080"/>
            <a:chExt cx="1440160" cy="720080"/>
          </a:xfrm>
        </p:grpSpPr>
        <p:sp>
          <p:nvSpPr>
            <p:cNvPr id="14" name="24 Triángulo isósceles"/>
            <p:cNvSpPr/>
            <p:nvPr userDrawn="1"/>
          </p:nvSpPr>
          <p:spPr>
            <a:xfrm rot="10800000" flipV="1">
              <a:off x="97160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21C7D8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sz="3733">
                <a:solidFill>
                  <a:srgbClr val="008597"/>
                </a:solidFill>
                <a:sym typeface="Gill Sans" charset="0"/>
              </a:endParaRPr>
            </a:p>
          </p:txBody>
        </p:sp>
        <p:sp>
          <p:nvSpPr>
            <p:cNvPr id="17" name="24 Triángulo isósceles"/>
            <p:cNvSpPr/>
            <p:nvPr/>
          </p:nvSpPr>
          <p:spPr>
            <a:xfrm rot="10800000">
              <a:off x="169168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21C7D8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sz="3733">
                <a:solidFill>
                  <a:srgbClr val="008597"/>
                </a:solidFill>
                <a:sym typeface="Gill Sans" charset="0"/>
              </a:endParaRPr>
            </a:p>
          </p:txBody>
        </p:sp>
      </p:grpSp>
      <p:pic>
        <p:nvPicPr>
          <p:cNvPr id="12" name="Imagem 9" descr="TEL-VIVO_lock-up_POS_RGB.png"/>
          <p:cNvPicPr>
            <a:picLocks noChangeAspect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9737725" y="6144683"/>
            <a:ext cx="2127251" cy="467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CaixaDeTexto 12"/>
          <p:cNvSpPr txBox="1"/>
          <p:nvPr userDrawn="1"/>
        </p:nvSpPr>
        <p:spPr bwMode="auto">
          <a:xfrm>
            <a:off x="431371" y="6241958"/>
            <a:ext cx="2688299" cy="420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2133" b="1" i="1">
                <a:solidFill>
                  <a:srgbClr val="003245"/>
                </a:solidFill>
                <a:ea typeface="ヒラギノ角ゴ ProN W3" charset="-128"/>
                <a:cs typeface="Calibri" pitchFamily="34" charset="0"/>
                <a:sym typeface="Gill Sans" charset="0"/>
              </a:rPr>
              <a:t>ESCOLHEMOS TUDO</a:t>
            </a:r>
            <a:r>
              <a:rPr lang="pt-BR" sz="2133" b="1" i="1">
                <a:solidFill>
                  <a:srgbClr val="21CCDD"/>
                </a:solidFill>
                <a:ea typeface="ヒラギノ角ゴ ProN W3" charset="-128"/>
                <a:cs typeface="Calibri" pitchFamily="34" charset="0"/>
                <a:sym typeface="Gill Sans" charset="0"/>
              </a:rPr>
              <a:t>_</a:t>
            </a:r>
          </a:p>
        </p:txBody>
      </p:sp>
    </p:spTree>
    <p:extLst>
      <p:ext uri="{BB962C8B-B14F-4D97-AF65-F5344CB8AC3E}">
        <p14:creationId xmlns:p14="http://schemas.microsoft.com/office/powerpoint/2010/main" val="1531391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5pPr>
      <a:lvl6pPr marL="609585" algn="l" rtl="0" fontAlgn="base"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6pPr>
      <a:lvl7pPr marL="1219170" algn="l" rtl="0" fontAlgn="base"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7pPr>
      <a:lvl8pPr marL="1828754" algn="l" rtl="0" fontAlgn="base"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8pPr>
      <a:lvl9pPr marL="2438339" algn="l" rtl="0" fontAlgn="base"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200000"/>
        <a:defRPr sz="3200">
          <a:solidFill>
            <a:srgbClr val="0095A1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marL="60958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defRPr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2pPr>
      <a:lvl3pPr marL="121917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defRPr sz="2133"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har char="–"/>
        <a:defRPr sz="2667">
          <a:solidFill>
            <a:schemeClr val="tx1"/>
          </a:solidFill>
          <a:latin typeface="+mn-lt"/>
          <a:ea typeface="MS PGothic" pitchFamily="34" charset="-128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ea typeface="MS PGothic" pitchFamily="34" charset="-128"/>
        </a:defRPr>
      </a:lvl5pPr>
      <a:lvl6pPr marL="3352716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6pPr>
      <a:lvl7pPr marL="3962301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7pPr>
      <a:lvl8pPr marL="4571886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8pPr>
      <a:lvl9pPr marL="5181470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6 Rectángulo"/>
          <p:cNvSpPr>
            <a:spLocks noChangeArrowheads="1"/>
          </p:cNvSpPr>
          <p:nvPr userDrawn="1"/>
        </p:nvSpPr>
        <p:spPr bwMode="auto">
          <a:xfrm>
            <a:off x="0" y="1"/>
            <a:ext cx="143933" cy="6887633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ES" altLang="es-ES" sz="3733" u="sng"/>
          </a:p>
        </p:txBody>
      </p:sp>
      <p:sp>
        <p:nvSpPr>
          <p:cNvPr id="2" name="7 Rectángulo"/>
          <p:cNvSpPr>
            <a:spLocks noChangeArrowheads="1"/>
          </p:cNvSpPr>
          <p:nvPr userDrawn="1"/>
        </p:nvSpPr>
        <p:spPr bwMode="auto">
          <a:xfrm>
            <a:off x="0" y="1"/>
            <a:ext cx="143933" cy="1267884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ES" altLang="es-ES" sz="3733" u="sng"/>
          </a:p>
        </p:txBody>
      </p:sp>
      <p:sp>
        <p:nvSpPr>
          <p:cNvPr id="11" name="Rectangle 3"/>
          <p:cNvSpPr>
            <a:spLocks/>
          </p:cNvSpPr>
          <p:nvPr userDrawn="1"/>
        </p:nvSpPr>
        <p:spPr bwMode="auto">
          <a:xfrm>
            <a:off x="5908246" y="6214534"/>
            <a:ext cx="307777" cy="225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E3FA2D3C-3BA7-4287-884A-C03A297730F2}" type="slidenum">
              <a:rPr lang="es-ES_tradnl" altLang="es-ES" sz="1467" smtClean="0">
                <a:solidFill>
                  <a:srgbClr val="008597"/>
                </a:solidFill>
                <a:latin typeface="Calibri" charset="0"/>
                <a:ea typeface="MS PGothic" charset="-128"/>
                <a:cs typeface="Calibri" charset="0"/>
                <a:sym typeface="Arial" charset="0"/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s-ES_tradnl" altLang="es-ES" sz="1467">
              <a:solidFill>
                <a:srgbClr val="008597"/>
              </a:solidFill>
              <a:latin typeface="Calibri" charset="0"/>
              <a:ea typeface="MS PGothic" charset="-128"/>
              <a:cs typeface="Calibri" charset="0"/>
              <a:sym typeface="Arial" charset="0"/>
            </a:endParaRPr>
          </a:p>
        </p:txBody>
      </p:sp>
      <p:grpSp>
        <p:nvGrpSpPr>
          <p:cNvPr id="3" name="59 Grupo"/>
          <p:cNvGrpSpPr>
            <a:grpSpLocks/>
          </p:cNvGrpSpPr>
          <p:nvPr userDrawn="1"/>
        </p:nvGrpSpPr>
        <p:grpSpPr bwMode="auto">
          <a:xfrm>
            <a:off x="5774267" y="6309784"/>
            <a:ext cx="575733" cy="287867"/>
            <a:chOff x="971600" y="4149080"/>
            <a:chExt cx="1440160" cy="720080"/>
          </a:xfrm>
        </p:grpSpPr>
        <p:sp>
          <p:nvSpPr>
            <p:cNvPr id="14" name="24 Triángulo isósceles"/>
            <p:cNvSpPr/>
            <p:nvPr userDrawn="1"/>
          </p:nvSpPr>
          <p:spPr>
            <a:xfrm rot="10800000" flipV="1">
              <a:off x="97160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21C7D8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sz="3733">
                <a:solidFill>
                  <a:srgbClr val="008597"/>
                </a:solidFill>
                <a:sym typeface="Gill Sans" charset="0"/>
              </a:endParaRPr>
            </a:p>
          </p:txBody>
        </p:sp>
        <p:sp>
          <p:nvSpPr>
            <p:cNvPr id="17" name="24 Triángulo isósceles"/>
            <p:cNvSpPr/>
            <p:nvPr/>
          </p:nvSpPr>
          <p:spPr>
            <a:xfrm rot="10800000">
              <a:off x="169168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21C7D8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sz="3733">
                <a:solidFill>
                  <a:srgbClr val="008597"/>
                </a:solidFill>
                <a:sym typeface="Gill Sans" charset="0"/>
              </a:endParaRPr>
            </a:p>
          </p:txBody>
        </p:sp>
      </p:grpSp>
      <p:pic>
        <p:nvPicPr>
          <p:cNvPr id="1030" name="Picture 10" descr="D:\PROYECTOS\PLANTILLAS\PLANTILLAS PPT\Propuesta plantillas referencia\paso a PPT\Recursos\ESCOLHEMOS TUDO\TUDO AZUL AZUL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234" y="6400801"/>
            <a:ext cx="2207684" cy="18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asted-image.pdf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2285" y="6223001"/>
            <a:ext cx="2000249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0067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9" r:id="rId9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5pPr>
      <a:lvl6pPr marL="609585" algn="l" rtl="0" fontAlgn="base"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6pPr>
      <a:lvl7pPr marL="1219170" algn="l" rtl="0" fontAlgn="base"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7pPr>
      <a:lvl8pPr marL="1828754" algn="l" rtl="0" fontAlgn="base"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8pPr>
      <a:lvl9pPr marL="2438339" algn="l" rtl="0" fontAlgn="base"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200000"/>
        <a:defRPr sz="3200">
          <a:solidFill>
            <a:srgbClr val="0095A1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marL="60958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defRPr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2pPr>
      <a:lvl3pPr marL="121917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defRPr sz="2133"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har char="–"/>
        <a:defRPr sz="2667">
          <a:solidFill>
            <a:schemeClr val="tx1"/>
          </a:solidFill>
          <a:latin typeface="+mn-lt"/>
          <a:ea typeface="MS PGothic" pitchFamily="34" charset="-128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ea typeface="MS PGothic" pitchFamily="34" charset="-128"/>
        </a:defRPr>
      </a:lvl5pPr>
      <a:lvl6pPr marL="3352716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6pPr>
      <a:lvl7pPr marL="3962301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7pPr>
      <a:lvl8pPr marL="4571886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8pPr>
      <a:lvl9pPr marL="5181470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6 Rectángulo"/>
          <p:cNvSpPr>
            <a:spLocks noChangeArrowheads="1"/>
          </p:cNvSpPr>
          <p:nvPr/>
        </p:nvSpPr>
        <p:spPr bwMode="auto">
          <a:xfrm>
            <a:off x="-1057" y="-1"/>
            <a:ext cx="143933" cy="6859065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lIns="121912" tIns="60956" rIns="121912" bIns="60956"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ES" altLang="es-ES" sz="3733" u="sng"/>
          </a:p>
        </p:txBody>
      </p:sp>
      <p:sp>
        <p:nvSpPr>
          <p:cNvPr id="2" name="7 Rectángulo"/>
          <p:cNvSpPr>
            <a:spLocks noChangeArrowheads="1"/>
          </p:cNvSpPr>
          <p:nvPr/>
        </p:nvSpPr>
        <p:spPr bwMode="auto">
          <a:xfrm>
            <a:off x="-1057" y="3"/>
            <a:ext cx="143933" cy="1267884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 lIns="121912" tIns="60956" rIns="121912" bIns="60956"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ES" altLang="es-ES" sz="3733" u="sng"/>
          </a:p>
        </p:txBody>
      </p:sp>
      <p:sp>
        <p:nvSpPr>
          <p:cNvPr id="11" name="Rectangle 3"/>
          <p:cNvSpPr>
            <a:spLocks/>
          </p:cNvSpPr>
          <p:nvPr/>
        </p:nvSpPr>
        <p:spPr bwMode="auto">
          <a:xfrm>
            <a:off x="5908248" y="6214538"/>
            <a:ext cx="307777" cy="225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0CFB359E-F7FB-4050-8396-B1AF1D9EB61B}" type="slidenum">
              <a:rPr lang="es-ES_tradnl" altLang="es-ES" sz="1467" smtClean="0">
                <a:solidFill>
                  <a:srgbClr val="008597"/>
                </a:solidFill>
                <a:latin typeface="Calibri" pitchFamily="34" charset="0"/>
                <a:ea typeface="MS PGothic" pitchFamily="34" charset="-128"/>
                <a:cs typeface="Calibri" pitchFamily="34" charset="0"/>
                <a:sym typeface="Arial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s-ES_tradnl" altLang="es-ES" sz="1467">
              <a:solidFill>
                <a:srgbClr val="008597"/>
              </a:solidFill>
              <a:latin typeface="Calibri" pitchFamily="34" charset="0"/>
              <a:ea typeface="MS PGothic" pitchFamily="34" charset="-128"/>
              <a:cs typeface="Calibri" pitchFamily="34" charset="0"/>
              <a:sym typeface="Arial" pitchFamily="34" charset="0"/>
            </a:endParaRPr>
          </a:p>
        </p:txBody>
      </p:sp>
      <p:grpSp>
        <p:nvGrpSpPr>
          <p:cNvPr id="3" name="59 Grupo"/>
          <p:cNvGrpSpPr>
            <a:grpSpLocks/>
          </p:cNvGrpSpPr>
          <p:nvPr/>
        </p:nvGrpSpPr>
        <p:grpSpPr bwMode="auto">
          <a:xfrm>
            <a:off x="5774268" y="6309785"/>
            <a:ext cx="575733" cy="287867"/>
            <a:chOff x="971600" y="4149080"/>
            <a:chExt cx="1440160" cy="720080"/>
          </a:xfrm>
        </p:grpSpPr>
        <p:sp>
          <p:nvSpPr>
            <p:cNvPr id="14" name="24 Triángulo isósceles"/>
            <p:cNvSpPr/>
            <p:nvPr userDrawn="1"/>
          </p:nvSpPr>
          <p:spPr>
            <a:xfrm rot="10800000" flipV="1">
              <a:off x="97160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21C7D8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sz="3733">
                <a:solidFill>
                  <a:srgbClr val="008597"/>
                </a:solidFill>
                <a:sym typeface="Gill Sans" charset="0"/>
              </a:endParaRPr>
            </a:p>
          </p:txBody>
        </p:sp>
        <p:sp>
          <p:nvSpPr>
            <p:cNvPr id="17" name="24 Triángulo isósceles"/>
            <p:cNvSpPr/>
            <p:nvPr/>
          </p:nvSpPr>
          <p:spPr>
            <a:xfrm rot="10800000">
              <a:off x="169168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21C7D8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sz="3733">
                <a:solidFill>
                  <a:srgbClr val="008597"/>
                </a:solidFill>
                <a:sym typeface="Gill Sans" charset="0"/>
              </a:endParaRPr>
            </a:p>
          </p:txBody>
        </p:sp>
      </p:grpSp>
      <p:pic>
        <p:nvPicPr>
          <p:cNvPr id="1030" name="Picture 10" descr="D:\PROYECTOS\PLANTILLAS\PLANTILLAS PPT\Propuesta plantillas referencia\paso a PPT\Recursos\ESCOLHEMOS TUDO\TUDO AZUL AZUL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9237" y="6400808"/>
            <a:ext cx="2207684" cy="18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asted-image.pdf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02294" y="6223003"/>
            <a:ext cx="2000249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8330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5pPr>
      <a:lvl6pPr marL="609539" algn="l" rtl="0" fontAlgn="base"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6pPr>
      <a:lvl7pPr marL="1219080" algn="l" rtl="0" fontAlgn="base"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7pPr>
      <a:lvl8pPr marL="1828618" algn="l" rtl="0" fontAlgn="base"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8pPr>
      <a:lvl9pPr marL="2438158" algn="l" rtl="0" fontAlgn="base"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200000"/>
        <a:defRPr sz="3200">
          <a:solidFill>
            <a:srgbClr val="0095A1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marL="609539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defRPr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2pPr>
      <a:lvl3pPr marL="121908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defRPr sz="2133"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3pPr>
      <a:lvl4pPr marL="2133387" indent="-304768" algn="l" rtl="0" eaLnBrk="0" fontAlgn="base" hangingPunct="0">
        <a:spcBef>
          <a:spcPct val="20000"/>
        </a:spcBef>
        <a:spcAft>
          <a:spcPct val="0"/>
        </a:spcAft>
        <a:buChar char="–"/>
        <a:defRPr sz="2667">
          <a:solidFill>
            <a:schemeClr val="tx1"/>
          </a:solidFill>
          <a:latin typeface="+mn-lt"/>
          <a:ea typeface="MS PGothic" pitchFamily="34" charset="-128"/>
        </a:defRPr>
      </a:lvl4pPr>
      <a:lvl5pPr marL="2742926" indent="-304768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ea typeface="MS PGothic" pitchFamily="34" charset="-128"/>
        </a:defRPr>
      </a:lvl5pPr>
      <a:lvl6pPr marL="3352464" indent="-304768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6pPr>
      <a:lvl7pPr marL="3962005" indent="-304768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7pPr>
      <a:lvl8pPr marL="4571544" indent="-304768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8pPr>
      <a:lvl9pPr marL="5181082" indent="-304768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6 Rectángulo"/>
          <p:cNvSpPr>
            <a:spLocks noChangeArrowheads="1"/>
          </p:cNvSpPr>
          <p:nvPr userDrawn="1"/>
        </p:nvSpPr>
        <p:spPr bwMode="auto">
          <a:xfrm>
            <a:off x="1" y="2"/>
            <a:ext cx="143935" cy="6887633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ES" altLang="es-ES" sz="3733" u="sng"/>
          </a:p>
        </p:txBody>
      </p:sp>
      <p:sp>
        <p:nvSpPr>
          <p:cNvPr id="2" name="7 Rectángulo"/>
          <p:cNvSpPr>
            <a:spLocks noChangeArrowheads="1"/>
          </p:cNvSpPr>
          <p:nvPr userDrawn="1"/>
        </p:nvSpPr>
        <p:spPr bwMode="auto">
          <a:xfrm>
            <a:off x="1" y="2"/>
            <a:ext cx="143935" cy="1267884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ES" altLang="es-ES" sz="3733" u="sng"/>
          </a:p>
        </p:txBody>
      </p:sp>
      <p:sp>
        <p:nvSpPr>
          <p:cNvPr id="11" name="Rectangle 3"/>
          <p:cNvSpPr>
            <a:spLocks/>
          </p:cNvSpPr>
          <p:nvPr userDrawn="1"/>
        </p:nvSpPr>
        <p:spPr bwMode="auto">
          <a:xfrm>
            <a:off x="5908248" y="6403014"/>
            <a:ext cx="307777" cy="225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A9110E33-A873-4941-83F6-852F8654E038}" type="slidenum">
              <a:rPr lang="es-ES_tradnl" altLang="es-ES" sz="1467" smtClean="0">
                <a:solidFill>
                  <a:srgbClr val="008597"/>
                </a:solidFill>
                <a:latin typeface="Calibri" charset="0"/>
                <a:ea typeface="MS PGothic" charset="-128"/>
                <a:cs typeface="Calibri" charset="0"/>
                <a:sym typeface="Arial" charset="0"/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s-ES_tradnl" altLang="es-ES" sz="1467">
              <a:solidFill>
                <a:srgbClr val="008597"/>
              </a:solidFill>
              <a:latin typeface="Calibri" charset="0"/>
              <a:ea typeface="MS PGothic" charset="-128"/>
              <a:cs typeface="Calibri" charset="0"/>
              <a:sym typeface="Arial" charset="0"/>
            </a:endParaRPr>
          </a:p>
        </p:txBody>
      </p:sp>
      <p:grpSp>
        <p:nvGrpSpPr>
          <p:cNvPr id="3" name="59 Grupo"/>
          <p:cNvGrpSpPr>
            <a:grpSpLocks/>
          </p:cNvGrpSpPr>
          <p:nvPr userDrawn="1"/>
        </p:nvGrpSpPr>
        <p:grpSpPr bwMode="auto">
          <a:xfrm>
            <a:off x="5909353" y="6601503"/>
            <a:ext cx="305567" cy="152783"/>
            <a:chOff x="971600" y="4149080"/>
            <a:chExt cx="1440160" cy="720080"/>
          </a:xfrm>
        </p:grpSpPr>
        <p:sp>
          <p:nvSpPr>
            <p:cNvPr id="14" name="24 Triángulo isósceles"/>
            <p:cNvSpPr/>
            <p:nvPr userDrawn="1"/>
          </p:nvSpPr>
          <p:spPr>
            <a:xfrm rot="10800000" flipV="1">
              <a:off x="97160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21C7D8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sz="3733">
                <a:solidFill>
                  <a:srgbClr val="008597"/>
                </a:solidFill>
                <a:sym typeface="Gill Sans" charset="0"/>
              </a:endParaRPr>
            </a:p>
          </p:txBody>
        </p:sp>
        <p:sp>
          <p:nvSpPr>
            <p:cNvPr id="17" name="24 Triángulo isósceles"/>
            <p:cNvSpPr/>
            <p:nvPr/>
          </p:nvSpPr>
          <p:spPr>
            <a:xfrm rot="10800000">
              <a:off x="169168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21C7D8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sz="3733">
                <a:solidFill>
                  <a:srgbClr val="008597"/>
                </a:solidFill>
                <a:sym typeface="Gill Sans" charset="0"/>
              </a:endParaRPr>
            </a:p>
          </p:txBody>
        </p:sp>
      </p:grpSp>
      <p:pic>
        <p:nvPicPr>
          <p:cNvPr id="1030" name="pasted-image.pdf"/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425"/>
          <a:stretch/>
        </p:blipFill>
        <p:spPr bwMode="auto">
          <a:xfrm>
            <a:off x="10979650" y="6379253"/>
            <a:ext cx="1091639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0604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799">
          <a:solidFill>
            <a:schemeClr val="tx2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799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799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799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799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5pPr>
      <a:lvl6pPr marL="609487" algn="l" rtl="0" fontAlgn="base"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6pPr>
      <a:lvl7pPr marL="1218975" algn="l" rtl="0" fontAlgn="base"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7pPr>
      <a:lvl8pPr marL="1828461" algn="l" rtl="0" fontAlgn="base"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8pPr>
      <a:lvl9pPr marL="2437950" algn="l" rtl="0" fontAlgn="base"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200000"/>
        <a:defRPr sz="3199">
          <a:solidFill>
            <a:srgbClr val="0095A1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marL="609487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defRPr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2pPr>
      <a:lvl3pPr marL="1218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defRPr sz="2133"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3pPr>
      <a:lvl4pPr marL="2133205" indent="-304743" algn="l" rtl="0" eaLnBrk="0" fontAlgn="base" hangingPunct="0">
        <a:spcBef>
          <a:spcPct val="20000"/>
        </a:spcBef>
        <a:spcAft>
          <a:spcPct val="0"/>
        </a:spcAft>
        <a:buChar char="–"/>
        <a:defRPr sz="2667">
          <a:solidFill>
            <a:schemeClr val="tx1"/>
          </a:solidFill>
          <a:latin typeface="+mn-lt"/>
          <a:ea typeface="MS PGothic" pitchFamily="34" charset="-128"/>
        </a:defRPr>
      </a:lvl4pPr>
      <a:lvl5pPr marL="2742693" indent="-304743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ea typeface="MS PGothic" pitchFamily="34" charset="-128"/>
        </a:defRPr>
      </a:lvl5pPr>
      <a:lvl6pPr marL="3352180" indent="-304743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6pPr>
      <a:lvl7pPr marL="3961668" indent="-304743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7pPr>
      <a:lvl8pPr marL="4571154" indent="-304743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8pPr>
      <a:lvl9pPr marL="5180641" indent="-304743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12189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87" algn="l" defTabSz="12189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75" algn="l" defTabSz="12189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61" algn="l" defTabSz="12189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50" algn="l" defTabSz="12189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36" algn="l" defTabSz="12189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23" algn="l" defTabSz="12189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11" algn="l" defTabSz="12189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898" algn="l" defTabSz="12189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6 Rectángulo"/>
          <p:cNvSpPr>
            <a:spLocks noChangeArrowheads="1"/>
          </p:cNvSpPr>
          <p:nvPr userDrawn="1"/>
        </p:nvSpPr>
        <p:spPr bwMode="auto">
          <a:xfrm>
            <a:off x="1" y="5"/>
            <a:ext cx="143933" cy="6888163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marL="0" marR="0" lvl="0" indent="0" algn="ctr" defTabSz="9167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2734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ヒラギノ角ゴ ProN W3" charset="-128"/>
              <a:cs typeface="+mn-cs"/>
              <a:sym typeface="Gill Sans" charset="0"/>
            </a:endParaRPr>
          </a:p>
        </p:txBody>
      </p:sp>
      <p:sp>
        <p:nvSpPr>
          <p:cNvPr id="2" name="7 Rectángulo"/>
          <p:cNvSpPr>
            <a:spLocks noChangeArrowheads="1"/>
          </p:cNvSpPr>
          <p:nvPr userDrawn="1"/>
        </p:nvSpPr>
        <p:spPr bwMode="auto">
          <a:xfrm>
            <a:off x="1" y="6"/>
            <a:ext cx="143933" cy="1268414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marL="0" marR="0" lvl="0" indent="0" algn="ctr" defTabSz="9167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2734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ヒラギノ角ゴ ProN W3" charset="-128"/>
              <a:cs typeface="+mn-cs"/>
              <a:sym typeface="Gill Sans" charset="0"/>
            </a:endParaRPr>
          </a:p>
        </p:txBody>
      </p:sp>
      <p:sp>
        <p:nvSpPr>
          <p:cNvPr id="1028" name="Rectangle 3"/>
          <p:cNvSpPr>
            <a:spLocks/>
          </p:cNvSpPr>
          <p:nvPr userDrawn="1"/>
        </p:nvSpPr>
        <p:spPr bwMode="auto">
          <a:xfrm>
            <a:off x="5981660" y="6351594"/>
            <a:ext cx="228683" cy="165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pPr marL="0" marR="0" lvl="0" indent="0" algn="ctr" defTabSz="9167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2BA1B4A-DF42-4B46-8140-B037C78070A3}" type="slidenum">
              <a:rPr kumimoji="0" lang="es-ES_tradnl" altLang="es-ES" sz="1075" b="0" i="0" u="none" strike="noStrike" kern="1200" cap="none" spc="0" normalizeH="0" baseline="0" noProof="0" smtClean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  <a:sym typeface="Arial" panose="020B0604020202020204" pitchFamily="34" charset="0"/>
              </a:rPr>
              <a:pPr marL="0" marR="0" lvl="0" indent="0" algn="ctr" defTabSz="9167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_tradnl" altLang="es-ES" sz="1075" b="0" i="0" u="none" strike="noStrike" kern="1200" cap="none" spc="0" normalizeH="0" baseline="0" noProof="0">
              <a:ln>
                <a:noFill/>
              </a:ln>
              <a:solidFill>
                <a:srgbClr val="008597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grpSp>
        <p:nvGrpSpPr>
          <p:cNvPr id="3" name="59 Grupo"/>
          <p:cNvGrpSpPr>
            <a:grpSpLocks/>
          </p:cNvGrpSpPr>
          <p:nvPr userDrawn="1"/>
        </p:nvGrpSpPr>
        <p:grpSpPr bwMode="auto">
          <a:xfrm>
            <a:off x="5808137" y="6423027"/>
            <a:ext cx="575733" cy="215900"/>
            <a:chOff x="971600" y="4149080"/>
            <a:chExt cx="1440160" cy="720080"/>
          </a:xfrm>
        </p:grpSpPr>
        <p:sp>
          <p:nvSpPr>
            <p:cNvPr id="15" name="24 Triángulo isósceles"/>
            <p:cNvSpPr/>
            <p:nvPr userDrawn="1"/>
          </p:nvSpPr>
          <p:spPr>
            <a:xfrm rot="10800000" flipV="1">
              <a:off x="97160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21C7D8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9167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734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ill Sans" charset="0"/>
              </a:endParaRPr>
            </a:p>
          </p:txBody>
        </p:sp>
        <p:sp>
          <p:nvSpPr>
            <p:cNvPr id="16" name="24 Triángulo isósceles"/>
            <p:cNvSpPr/>
            <p:nvPr/>
          </p:nvSpPr>
          <p:spPr>
            <a:xfrm rot="10800000">
              <a:off x="169168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21C7D8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9167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734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ill Sans" charset="0"/>
              </a:endParaRPr>
            </a:p>
          </p:txBody>
        </p:sp>
      </p:grpSp>
      <p:pic>
        <p:nvPicPr>
          <p:cNvPr id="1030" name="Picture 10" descr="D:\PROYECTOS\PLANTILLAS\PLANTILLAS PPT\Propuesta plantillas referencia\paso a PPT\Recursos\ESCOLHEMOS TUDO\TUDO AZUL AZUL.png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9667" y="6507174"/>
            <a:ext cx="1920000" cy="159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asted-image.pdf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5355" r="42631" b="-3711"/>
          <a:stretch/>
        </p:blipFill>
        <p:spPr bwMode="auto">
          <a:xfrm>
            <a:off x="10816076" y="6356352"/>
            <a:ext cx="1136577" cy="433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7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6777" fontAlgn="base">
              <a:spcBef>
                <a:spcPct val="0"/>
              </a:spcBef>
              <a:spcAft>
                <a:spcPct val="0"/>
              </a:spcAft>
              <a:defRPr/>
            </a:pPr>
            <a:fld id="{9D0A7F54-2702-4872-BE9C-06EB0B1F08A9}" type="datetimeFigureOut">
              <a:rPr lang="pt-BR" smtClean="0">
                <a:solidFill>
                  <a:srgbClr val="008597">
                    <a:tint val="75000"/>
                  </a:srgbClr>
                </a:solidFill>
                <a:ea typeface="ヒラギノ角ゴ ProN W3" charset="-128"/>
                <a:sym typeface="Gill Sans" charset="0"/>
              </a:rPr>
              <a:pPr defTabSz="916777" fontAlgn="base">
                <a:spcBef>
                  <a:spcPct val="0"/>
                </a:spcBef>
                <a:spcAft>
                  <a:spcPct val="0"/>
                </a:spcAft>
                <a:defRPr/>
              </a:pPr>
              <a:t>27/10/2017</a:t>
            </a:fld>
            <a:endParaRPr lang="pt-BR">
              <a:solidFill>
                <a:srgbClr val="008597">
                  <a:tint val="75000"/>
                </a:srgbClr>
              </a:solidFill>
              <a:ea typeface="ヒラギノ角ゴ ProN W3" charset="-128"/>
              <a:sym typeface="Gill Sans" charset="0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2" y="6356352"/>
            <a:ext cx="41148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6777" fontAlgn="base">
              <a:spcBef>
                <a:spcPct val="0"/>
              </a:spcBef>
              <a:spcAft>
                <a:spcPct val="0"/>
              </a:spcAft>
              <a:defRPr/>
            </a:pPr>
            <a:endParaRPr lang="pt-BR">
              <a:solidFill>
                <a:srgbClr val="008597">
                  <a:tint val="75000"/>
                </a:srgbClr>
              </a:solidFill>
              <a:ea typeface="ヒラギノ角ゴ ProN W3" charset="-128"/>
              <a:sym typeface="Gill Sans" charset="0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1" y="6356352"/>
            <a:ext cx="2743200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6777" fontAlgn="base">
              <a:spcBef>
                <a:spcPct val="0"/>
              </a:spcBef>
              <a:spcAft>
                <a:spcPct val="0"/>
              </a:spcAft>
              <a:defRPr/>
            </a:pPr>
            <a:fld id="{4AE70EE3-F0A5-409C-88FA-6EF5DD055643}" type="slidenum">
              <a:rPr lang="pt-BR" smtClean="0">
                <a:solidFill>
                  <a:srgbClr val="008597">
                    <a:tint val="75000"/>
                  </a:srgbClr>
                </a:solidFill>
                <a:ea typeface="ヒラギノ角ゴ ProN W3" charset="-128"/>
                <a:sym typeface="Gill Sans" charset="0"/>
              </a:rPr>
              <a:pPr defTabSz="916777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>
              <a:solidFill>
                <a:srgbClr val="008597">
                  <a:tint val="75000"/>
                </a:srgbClr>
              </a:solidFill>
              <a:ea typeface="ヒラギノ角ゴ ProN W3" charset="-128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0943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515">
          <a:solidFill>
            <a:schemeClr val="tx2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515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515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515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515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5pPr>
      <a:lvl6pPr marL="446361" algn="l" rtl="0" fontAlgn="base">
        <a:spcBef>
          <a:spcPct val="0"/>
        </a:spcBef>
        <a:spcAft>
          <a:spcPct val="0"/>
        </a:spcAft>
        <a:defRPr sz="2734">
          <a:solidFill>
            <a:schemeClr val="tx2"/>
          </a:solidFill>
          <a:latin typeface="Arial" pitchFamily="34" charset="0"/>
        </a:defRPr>
      </a:lvl6pPr>
      <a:lvl7pPr marL="892718" algn="l" rtl="0" fontAlgn="base">
        <a:spcBef>
          <a:spcPct val="0"/>
        </a:spcBef>
        <a:spcAft>
          <a:spcPct val="0"/>
        </a:spcAft>
        <a:defRPr sz="2734">
          <a:solidFill>
            <a:schemeClr val="tx2"/>
          </a:solidFill>
          <a:latin typeface="Arial" pitchFamily="34" charset="0"/>
        </a:defRPr>
      </a:lvl7pPr>
      <a:lvl8pPr marL="1339078" algn="l" rtl="0" fontAlgn="base">
        <a:spcBef>
          <a:spcPct val="0"/>
        </a:spcBef>
        <a:spcAft>
          <a:spcPct val="0"/>
        </a:spcAft>
        <a:defRPr sz="2734">
          <a:solidFill>
            <a:schemeClr val="tx2"/>
          </a:solidFill>
          <a:latin typeface="Arial" pitchFamily="34" charset="0"/>
        </a:defRPr>
      </a:lvl8pPr>
      <a:lvl9pPr marL="1785436" algn="l" rtl="0" fontAlgn="base">
        <a:spcBef>
          <a:spcPct val="0"/>
        </a:spcBef>
        <a:spcAft>
          <a:spcPct val="0"/>
        </a:spcAft>
        <a:defRPr sz="2734">
          <a:solidFill>
            <a:schemeClr val="tx2"/>
          </a:solidFill>
          <a:latin typeface="Arial" pitchFamily="34" charset="0"/>
        </a:defRPr>
      </a:lvl9pPr>
    </p:titleStyle>
    <p:bodyStyle>
      <a:lvl1pPr marL="334768" indent="-33476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200000"/>
        <a:defRPr sz="2343">
          <a:solidFill>
            <a:srgbClr val="0095A1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marL="446361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defRPr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2pPr>
      <a:lvl3pPr marL="89271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defRPr sz="1562"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3pPr>
      <a:lvl4pPr marL="1562256" indent="-223180" algn="l" rtl="0" eaLnBrk="0" fontAlgn="base" hangingPunct="0">
        <a:spcBef>
          <a:spcPct val="20000"/>
        </a:spcBef>
        <a:spcAft>
          <a:spcPct val="0"/>
        </a:spcAft>
        <a:buChar char="–"/>
        <a:defRPr sz="1952">
          <a:solidFill>
            <a:schemeClr val="tx1"/>
          </a:solidFill>
          <a:latin typeface="+mn-lt"/>
          <a:ea typeface="MS PGothic" pitchFamily="34" charset="-128"/>
        </a:defRPr>
      </a:lvl4pPr>
      <a:lvl5pPr marL="2008617" indent="-223180" algn="l" rtl="0" eaLnBrk="0" fontAlgn="base" hangingPunct="0">
        <a:spcBef>
          <a:spcPct val="20000"/>
        </a:spcBef>
        <a:spcAft>
          <a:spcPct val="0"/>
        </a:spcAft>
        <a:buChar char="»"/>
        <a:defRPr sz="1952">
          <a:solidFill>
            <a:schemeClr val="tx1"/>
          </a:solidFill>
          <a:latin typeface="+mn-lt"/>
          <a:ea typeface="MS PGothic" pitchFamily="34" charset="-128"/>
        </a:defRPr>
      </a:lvl5pPr>
      <a:lvl6pPr marL="2454975" indent="-223180" algn="l" rtl="0" fontAlgn="base">
        <a:spcBef>
          <a:spcPct val="20000"/>
        </a:spcBef>
        <a:spcAft>
          <a:spcPct val="0"/>
        </a:spcAft>
        <a:buChar char="»"/>
        <a:defRPr sz="1952">
          <a:solidFill>
            <a:schemeClr val="tx1"/>
          </a:solidFill>
          <a:latin typeface="+mn-lt"/>
        </a:defRPr>
      </a:lvl6pPr>
      <a:lvl7pPr marL="2901334" indent="-223180" algn="l" rtl="0" fontAlgn="base">
        <a:spcBef>
          <a:spcPct val="20000"/>
        </a:spcBef>
        <a:spcAft>
          <a:spcPct val="0"/>
        </a:spcAft>
        <a:buChar char="»"/>
        <a:defRPr sz="1952">
          <a:solidFill>
            <a:schemeClr val="tx1"/>
          </a:solidFill>
          <a:latin typeface="+mn-lt"/>
        </a:defRPr>
      </a:lvl7pPr>
      <a:lvl8pPr marL="3347693" indent="-223180" algn="l" rtl="0" fontAlgn="base">
        <a:spcBef>
          <a:spcPct val="20000"/>
        </a:spcBef>
        <a:spcAft>
          <a:spcPct val="0"/>
        </a:spcAft>
        <a:buChar char="»"/>
        <a:defRPr sz="1952">
          <a:solidFill>
            <a:schemeClr val="tx1"/>
          </a:solidFill>
          <a:latin typeface="+mn-lt"/>
        </a:defRPr>
      </a:lvl8pPr>
      <a:lvl9pPr marL="3794054" indent="-223180" algn="l" rtl="0" fontAlgn="base">
        <a:spcBef>
          <a:spcPct val="20000"/>
        </a:spcBef>
        <a:spcAft>
          <a:spcPct val="0"/>
        </a:spcAft>
        <a:buChar char="»"/>
        <a:defRPr sz="1952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892718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361" algn="l" defTabSz="892718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718" algn="l" defTabSz="892718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9078" algn="l" defTabSz="892718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5436" algn="l" defTabSz="892718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1796" algn="l" defTabSz="892718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8153" algn="l" defTabSz="892718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4514" algn="l" defTabSz="892718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70873" algn="l" defTabSz="892718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8168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</p:sldLayoutIdLst>
  <p:txStyles>
    <p:titleStyle>
      <a:lvl1pPr algn="ctr" defTabSz="595493" rtl="0" eaLnBrk="0" fontAlgn="base" hangingPunct="0">
        <a:spcBef>
          <a:spcPct val="0"/>
        </a:spcBef>
        <a:spcAft>
          <a:spcPct val="0"/>
        </a:spcAft>
        <a:defRPr sz="5731" kern="1200">
          <a:solidFill>
            <a:schemeClr val="tx1"/>
          </a:solidFill>
          <a:latin typeface="+mj-lt"/>
          <a:ea typeface="MS PGothic" pitchFamily="34" charset="-128"/>
          <a:cs typeface="MS PGothic" panose="020B0600070205080204" pitchFamily="34" charset="-128"/>
        </a:defRPr>
      </a:lvl1pPr>
      <a:lvl2pPr algn="ctr" defTabSz="595493" rtl="0" eaLnBrk="0" fontAlgn="base" hangingPunct="0">
        <a:spcBef>
          <a:spcPct val="0"/>
        </a:spcBef>
        <a:spcAft>
          <a:spcPct val="0"/>
        </a:spcAft>
        <a:defRPr sz="5731">
          <a:solidFill>
            <a:schemeClr val="tx1"/>
          </a:solidFill>
          <a:latin typeface="Calibri" charset="0"/>
          <a:ea typeface="MS PGothic" pitchFamily="34" charset="-128"/>
          <a:cs typeface="MS PGothic" panose="020B0600070205080204" pitchFamily="34" charset="-128"/>
        </a:defRPr>
      </a:lvl2pPr>
      <a:lvl3pPr algn="ctr" defTabSz="595493" rtl="0" eaLnBrk="0" fontAlgn="base" hangingPunct="0">
        <a:spcBef>
          <a:spcPct val="0"/>
        </a:spcBef>
        <a:spcAft>
          <a:spcPct val="0"/>
        </a:spcAft>
        <a:defRPr sz="5731">
          <a:solidFill>
            <a:schemeClr val="tx1"/>
          </a:solidFill>
          <a:latin typeface="Calibri" charset="0"/>
          <a:ea typeface="MS PGothic" pitchFamily="34" charset="-128"/>
          <a:cs typeface="MS PGothic" panose="020B0600070205080204" pitchFamily="34" charset="-128"/>
        </a:defRPr>
      </a:lvl3pPr>
      <a:lvl4pPr algn="ctr" defTabSz="595493" rtl="0" eaLnBrk="0" fontAlgn="base" hangingPunct="0">
        <a:spcBef>
          <a:spcPct val="0"/>
        </a:spcBef>
        <a:spcAft>
          <a:spcPct val="0"/>
        </a:spcAft>
        <a:defRPr sz="5731">
          <a:solidFill>
            <a:schemeClr val="tx1"/>
          </a:solidFill>
          <a:latin typeface="Calibri" charset="0"/>
          <a:ea typeface="MS PGothic" pitchFamily="34" charset="-128"/>
          <a:cs typeface="MS PGothic" panose="020B0600070205080204" pitchFamily="34" charset="-128"/>
        </a:defRPr>
      </a:lvl4pPr>
      <a:lvl5pPr algn="ctr" defTabSz="595493" rtl="0" eaLnBrk="0" fontAlgn="base" hangingPunct="0">
        <a:spcBef>
          <a:spcPct val="0"/>
        </a:spcBef>
        <a:spcAft>
          <a:spcPct val="0"/>
        </a:spcAft>
        <a:defRPr sz="5731">
          <a:solidFill>
            <a:schemeClr val="tx1"/>
          </a:solidFill>
          <a:latin typeface="Calibri" charset="0"/>
          <a:ea typeface="MS PGothic" pitchFamily="34" charset="-128"/>
          <a:cs typeface="MS PGothic" panose="020B0600070205080204" pitchFamily="34" charset="-128"/>
        </a:defRPr>
      </a:lvl5pPr>
      <a:lvl6pPr marL="595493" algn="ctr" defTabSz="595493" rtl="0" fontAlgn="base">
        <a:spcBef>
          <a:spcPct val="0"/>
        </a:spcBef>
        <a:spcAft>
          <a:spcPct val="0"/>
        </a:spcAft>
        <a:defRPr sz="5731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1190986" algn="ctr" defTabSz="595493" rtl="0" fontAlgn="base">
        <a:spcBef>
          <a:spcPct val="0"/>
        </a:spcBef>
        <a:spcAft>
          <a:spcPct val="0"/>
        </a:spcAft>
        <a:defRPr sz="5731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786479" algn="ctr" defTabSz="595493" rtl="0" fontAlgn="base">
        <a:spcBef>
          <a:spcPct val="0"/>
        </a:spcBef>
        <a:spcAft>
          <a:spcPct val="0"/>
        </a:spcAft>
        <a:defRPr sz="5731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2381971" algn="ctr" defTabSz="595493" rtl="0" fontAlgn="base">
        <a:spcBef>
          <a:spcPct val="0"/>
        </a:spcBef>
        <a:spcAft>
          <a:spcPct val="0"/>
        </a:spcAft>
        <a:defRPr sz="5731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446619" indent="-446619" algn="l" defTabSz="59549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168" kern="1200">
          <a:solidFill>
            <a:schemeClr val="tx1"/>
          </a:solidFill>
          <a:latin typeface="+mn-lt"/>
          <a:ea typeface="MS PGothic" pitchFamily="34" charset="-128"/>
          <a:cs typeface="MS PGothic" panose="020B0600070205080204" pitchFamily="34" charset="-128"/>
        </a:defRPr>
      </a:lvl1pPr>
      <a:lvl2pPr marL="967675" indent="-372183" algn="l" defTabSz="59549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646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488732" indent="-297746" algn="l" defTabSz="59549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126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2084225" indent="-297746" algn="l" defTabSz="59549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05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679717" indent="-297746" algn="l" defTabSz="59549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05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3275210" indent="-297746" algn="l" defTabSz="595493" rtl="0" eaLnBrk="1" latinLnBrk="0" hangingPunct="1">
        <a:spcBef>
          <a:spcPct val="20000"/>
        </a:spcBef>
        <a:buFont typeface="Arial"/>
        <a:buChar char="•"/>
        <a:defRPr sz="2605" kern="1200">
          <a:solidFill>
            <a:schemeClr val="tx1"/>
          </a:solidFill>
          <a:latin typeface="+mn-lt"/>
          <a:ea typeface="+mn-ea"/>
          <a:cs typeface="+mn-cs"/>
        </a:defRPr>
      </a:lvl6pPr>
      <a:lvl7pPr marL="3870703" indent="-297746" algn="l" defTabSz="595493" rtl="0" eaLnBrk="1" latinLnBrk="0" hangingPunct="1">
        <a:spcBef>
          <a:spcPct val="20000"/>
        </a:spcBef>
        <a:buFont typeface="Arial"/>
        <a:buChar char="•"/>
        <a:defRPr sz="2605" kern="1200">
          <a:solidFill>
            <a:schemeClr val="tx1"/>
          </a:solidFill>
          <a:latin typeface="+mn-lt"/>
          <a:ea typeface="+mn-ea"/>
          <a:cs typeface="+mn-cs"/>
        </a:defRPr>
      </a:lvl7pPr>
      <a:lvl8pPr marL="4466196" indent="-297746" algn="l" defTabSz="595493" rtl="0" eaLnBrk="1" latinLnBrk="0" hangingPunct="1">
        <a:spcBef>
          <a:spcPct val="20000"/>
        </a:spcBef>
        <a:buFont typeface="Arial"/>
        <a:buChar char="•"/>
        <a:defRPr sz="2605" kern="1200">
          <a:solidFill>
            <a:schemeClr val="tx1"/>
          </a:solidFill>
          <a:latin typeface="+mn-lt"/>
          <a:ea typeface="+mn-ea"/>
          <a:cs typeface="+mn-cs"/>
        </a:defRPr>
      </a:lvl8pPr>
      <a:lvl9pPr marL="5061688" indent="-297746" algn="l" defTabSz="595493" rtl="0" eaLnBrk="1" latinLnBrk="0" hangingPunct="1">
        <a:spcBef>
          <a:spcPct val="20000"/>
        </a:spcBef>
        <a:buFont typeface="Arial"/>
        <a:buChar char="•"/>
        <a:defRPr sz="26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493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1pPr>
      <a:lvl2pPr marL="595493" algn="l" defTabSz="595493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2pPr>
      <a:lvl3pPr marL="1190986" algn="l" defTabSz="595493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3pPr>
      <a:lvl4pPr marL="1786479" algn="l" defTabSz="595493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4pPr>
      <a:lvl5pPr marL="2381971" algn="l" defTabSz="595493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5pPr>
      <a:lvl6pPr marL="2977464" algn="l" defTabSz="595493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6pPr>
      <a:lvl7pPr marL="3572957" algn="l" defTabSz="595493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7pPr>
      <a:lvl8pPr marL="4168450" algn="l" defTabSz="595493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8pPr>
      <a:lvl9pPr marL="4763942" algn="l" defTabSz="595493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6 Rectángulo"/>
          <p:cNvSpPr>
            <a:spLocks noChangeArrowheads="1"/>
          </p:cNvSpPr>
          <p:nvPr userDrawn="1"/>
        </p:nvSpPr>
        <p:spPr bwMode="auto">
          <a:xfrm>
            <a:off x="1" y="1"/>
            <a:ext cx="143933" cy="6887633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marL="0" marR="0" lvl="0" indent="0" algn="ctr" defTabSz="9167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3646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ヒラギノ角ゴ ProN W3" charset="-128"/>
              <a:cs typeface="+mn-cs"/>
              <a:sym typeface="Gill Sans" charset="0"/>
            </a:endParaRPr>
          </a:p>
        </p:txBody>
      </p:sp>
      <p:sp>
        <p:nvSpPr>
          <p:cNvPr id="2" name="7 Rectángulo"/>
          <p:cNvSpPr>
            <a:spLocks noChangeArrowheads="1"/>
          </p:cNvSpPr>
          <p:nvPr userDrawn="1"/>
        </p:nvSpPr>
        <p:spPr bwMode="auto">
          <a:xfrm>
            <a:off x="1" y="1"/>
            <a:ext cx="143933" cy="1267884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marL="0" marR="0" lvl="0" indent="0" algn="ctr" defTabSz="9167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3646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ヒラギノ角ゴ ProN W3" charset="-128"/>
              <a:cs typeface="+mn-cs"/>
              <a:sym typeface="Gill Sans" charset="0"/>
            </a:endParaRPr>
          </a:p>
        </p:txBody>
      </p:sp>
      <p:pic>
        <p:nvPicPr>
          <p:cNvPr id="1028" name="Picture 6" descr="D:\PROYECTOS\RECURSOS\TELEFÓNICA\LOGOS Telefónica\TEL logo_pos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0383" y="6021918"/>
            <a:ext cx="1921934" cy="713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3"/>
          <p:cNvSpPr>
            <a:spLocks/>
          </p:cNvSpPr>
          <p:nvPr userDrawn="1"/>
        </p:nvSpPr>
        <p:spPr bwMode="auto">
          <a:xfrm>
            <a:off x="5909131" y="6214534"/>
            <a:ext cx="306008" cy="22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charset="0"/>
                <a:ea typeface="ヒラギノ角ゴ ProN W3" charset="-128"/>
                <a:sym typeface="Gill Sans" charset="0"/>
              </a:defRPr>
            </a:lvl9pPr>
          </a:lstStyle>
          <a:p>
            <a:pPr marL="0" marR="0" lvl="0" indent="0" algn="ctr" defTabSz="9167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93C817E-7E68-4A22-A8E6-B4C99A74E212}" type="slidenum">
              <a:rPr kumimoji="0" lang="es-ES_tradnl" altLang="es-ES" sz="1433" b="0" i="0" u="none" strike="noStrike" kern="1200" cap="none" spc="0" normalizeH="0" baseline="0" noProof="0" smtClean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Calibri" charset="0"/>
                <a:ea typeface="MS PGothic" charset="-128"/>
                <a:cs typeface="Calibri" charset="0"/>
                <a:sym typeface="Arial" charset="0"/>
              </a:rPr>
              <a:pPr marL="0" marR="0" lvl="0" indent="0" algn="ctr" defTabSz="9167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_tradnl" altLang="es-ES" sz="1433" b="0" i="0" u="none" strike="noStrike" kern="1200" cap="none" spc="0" normalizeH="0" baseline="0" noProof="0">
              <a:ln>
                <a:noFill/>
              </a:ln>
              <a:solidFill>
                <a:srgbClr val="008597"/>
              </a:solidFill>
              <a:effectLst/>
              <a:uLnTx/>
              <a:uFillTx/>
              <a:latin typeface="Calibri" charset="0"/>
              <a:ea typeface="MS PGothic" charset="-128"/>
              <a:cs typeface="Calibri" charset="0"/>
              <a:sym typeface="Arial" charset="0"/>
            </a:endParaRPr>
          </a:p>
        </p:txBody>
      </p:sp>
      <p:grpSp>
        <p:nvGrpSpPr>
          <p:cNvPr id="1030" name="59 Grupo"/>
          <p:cNvGrpSpPr>
            <a:grpSpLocks/>
          </p:cNvGrpSpPr>
          <p:nvPr userDrawn="1"/>
        </p:nvGrpSpPr>
        <p:grpSpPr bwMode="auto">
          <a:xfrm>
            <a:off x="5774267" y="6309784"/>
            <a:ext cx="575733" cy="287867"/>
            <a:chOff x="971600" y="4149080"/>
            <a:chExt cx="1440160" cy="720080"/>
          </a:xfrm>
        </p:grpSpPr>
        <p:sp>
          <p:nvSpPr>
            <p:cNvPr id="14" name="24 Triángulo isósceles"/>
            <p:cNvSpPr/>
            <p:nvPr userDrawn="1"/>
          </p:nvSpPr>
          <p:spPr>
            <a:xfrm rot="10800000" flipV="1">
              <a:off x="97160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21C7D8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9167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778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ill Sans" charset="0"/>
              </a:endParaRPr>
            </a:p>
          </p:txBody>
        </p:sp>
        <p:sp>
          <p:nvSpPr>
            <p:cNvPr id="17" name="24 Triángulo isósceles"/>
            <p:cNvSpPr/>
            <p:nvPr/>
          </p:nvSpPr>
          <p:spPr>
            <a:xfrm rot="10800000">
              <a:off x="169168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21C7D8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9167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4778" b="0" i="0" u="none" strike="noStrike" kern="1200" cap="none" spc="0" normalizeH="0" baseline="0" noProof="0">
                <a:ln>
                  <a:noFill/>
                </a:ln>
                <a:solidFill>
                  <a:srgbClr val="008597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ill Sans" charset="0"/>
              </a:endParaRPr>
            </a:p>
          </p:txBody>
        </p:sp>
      </p:grpSp>
      <p:pic>
        <p:nvPicPr>
          <p:cNvPr id="1031" name="Picture 10" descr="D:\PROYECTOS\PLANTILLAS\PLANTILLAS PPT\Propuesta plantillas referencia\paso a PPT\Recursos\ESCOLHEMOS TUDO\TUDO AZUL AZUL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235" y="6400801"/>
            <a:ext cx="2207684" cy="18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19835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96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689">
          <a:solidFill>
            <a:schemeClr val="tx2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689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689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689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689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5pPr>
      <a:lvl6pPr marL="595493" algn="l" rtl="0" fontAlgn="base">
        <a:spcBef>
          <a:spcPct val="0"/>
        </a:spcBef>
        <a:spcAft>
          <a:spcPct val="0"/>
        </a:spcAft>
        <a:defRPr sz="3646">
          <a:solidFill>
            <a:schemeClr val="tx2"/>
          </a:solidFill>
          <a:latin typeface="Arial" pitchFamily="34" charset="0"/>
        </a:defRPr>
      </a:lvl6pPr>
      <a:lvl7pPr marL="1190986" algn="l" rtl="0" fontAlgn="base">
        <a:spcBef>
          <a:spcPct val="0"/>
        </a:spcBef>
        <a:spcAft>
          <a:spcPct val="0"/>
        </a:spcAft>
        <a:defRPr sz="3646">
          <a:solidFill>
            <a:schemeClr val="tx2"/>
          </a:solidFill>
          <a:latin typeface="Arial" pitchFamily="34" charset="0"/>
        </a:defRPr>
      </a:lvl7pPr>
      <a:lvl8pPr marL="1786479" algn="l" rtl="0" fontAlgn="base">
        <a:spcBef>
          <a:spcPct val="0"/>
        </a:spcBef>
        <a:spcAft>
          <a:spcPct val="0"/>
        </a:spcAft>
        <a:defRPr sz="3646">
          <a:solidFill>
            <a:schemeClr val="tx2"/>
          </a:solidFill>
          <a:latin typeface="Arial" pitchFamily="34" charset="0"/>
        </a:defRPr>
      </a:lvl8pPr>
      <a:lvl9pPr marL="2381971" algn="l" rtl="0" fontAlgn="base">
        <a:spcBef>
          <a:spcPct val="0"/>
        </a:spcBef>
        <a:spcAft>
          <a:spcPct val="0"/>
        </a:spcAft>
        <a:defRPr sz="3646">
          <a:solidFill>
            <a:schemeClr val="tx2"/>
          </a:solidFill>
          <a:latin typeface="Arial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200000"/>
        <a:defRPr sz="3126">
          <a:solidFill>
            <a:srgbClr val="0095A1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marL="59549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defRPr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2pPr>
      <a:lvl3pPr marL="1190986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defRPr sz="2084"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3pPr>
      <a:lvl4pPr marL="2084225" indent="-297746" algn="l" rtl="0" eaLnBrk="0" fontAlgn="base" hangingPunct="0">
        <a:spcBef>
          <a:spcPct val="20000"/>
        </a:spcBef>
        <a:spcAft>
          <a:spcPct val="0"/>
        </a:spcAft>
        <a:buChar char="–"/>
        <a:defRPr sz="2605">
          <a:solidFill>
            <a:schemeClr val="tx1"/>
          </a:solidFill>
          <a:latin typeface="+mn-lt"/>
          <a:ea typeface="MS PGothic" pitchFamily="34" charset="-128"/>
        </a:defRPr>
      </a:lvl4pPr>
      <a:lvl5pPr marL="2679717" indent="-297746" algn="l" rtl="0" eaLnBrk="0" fontAlgn="base" hangingPunct="0">
        <a:spcBef>
          <a:spcPct val="20000"/>
        </a:spcBef>
        <a:spcAft>
          <a:spcPct val="0"/>
        </a:spcAft>
        <a:buChar char="»"/>
        <a:defRPr sz="2605">
          <a:solidFill>
            <a:schemeClr val="tx1"/>
          </a:solidFill>
          <a:latin typeface="+mn-lt"/>
          <a:ea typeface="MS PGothic" pitchFamily="34" charset="-128"/>
        </a:defRPr>
      </a:lvl5pPr>
      <a:lvl6pPr marL="3275210" indent="-297746" algn="l" rtl="0" fontAlgn="base">
        <a:spcBef>
          <a:spcPct val="20000"/>
        </a:spcBef>
        <a:spcAft>
          <a:spcPct val="0"/>
        </a:spcAft>
        <a:buChar char="»"/>
        <a:defRPr sz="2605">
          <a:solidFill>
            <a:schemeClr val="tx1"/>
          </a:solidFill>
          <a:latin typeface="+mn-lt"/>
        </a:defRPr>
      </a:lvl6pPr>
      <a:lvl7pPr marL="3870703" indent="-297746" algn="l" rtl="0" fontAlgn="base">
        <a:spcBef>
          <a:spcPct val="20000"/>
        </a:spcBef>
        <a:spcAft>
          <a:spcPct val="0"/>
        </a:spcAft>
        <a:buChar char="»"/>
        <a:defRPr sz="2605">
          <a:solidFill>
            <a:schemeClr val="tx1"/>
          </a:solidFill>
          <a:latin typeface="+mn-lt"/>
        </a:defRPr>
      </a:lvl7pPr>
      <a:lvl8pPr marL="4466196" indent="-297746" algn="l" rtl="0" fontAlgn="base">
        <a:spcBef>
          <a:spcPct val="20000"/>
        </a:spcBef>
        <a:spcAft>
          <a:spcPct val="0"/>
        </a:spcAft>
        <a:buChar char="»"/>
        <a:defRPr sz="2605">
          <a:solidFill>
            <a:schemeClr val="tx1"/>
          </a:solidFill>
          <a:latin typeface="+mn-lt"/>
        </a:defRPr>
      </a:lvl8pPr>
      <a:lvl9pPr marL="5061688" indent="-297746" algn="l" rtl="0" fontAlgn="base">
        <a:spcBef>
          <a:spcPct val="20000"/>
        </a:spcBef>
        <a:spcAft>
          <a:spcPct val="0"/>
        </a:spcAft>
        <a:buChar char="»"/>
        <a:defRPr sz="2605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1190986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1pPr>
      <a:lvl2pPr marL="595493" algn="l" defTabSz="1190986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2pPr>
      <a:lvl3pPr marL="1190986" algn="l" defTabSz="1190986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3pPr>
      <a:lvl4pPr marL="1786479" algn="l" defTabSz="1190986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4pPr>
      <a:lvl5pPr marL="2381971" algn="l" defTabSz="1190986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5pPr>
      <a:lvl6pPr marL="2977464" algn="l" defTabSz="1190986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6pPr>
      <a:lvl7pPr marL="3572957" algn="l" defTabSz="1190986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7pPr>
      <a:lvl8pPr marL="4168450" algn="l" defTabSz="1190986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8pPr>
      <a:lvl9pPr marL="4763942" algn="l" defTabSz="1190986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://sv2kpprj3/PWA/ITSuporteInterfaces/Documentos%20Compartilhados/Ger&#234;ncia%20Finan&#231;as/FUP%20Ger&#234;ncia%20de%20Divis&#227;o/00%20-%20Apresenta&#231;&#227;o%20Atual/01%20-%20FUP%20Divis&#227;o.pptx" TargetMode="External"/><Relationship Id="rId1" Type="http://schemas.openxmlformats.org/officeDocument/2006/relationships/slideLayout" Target="../slideLayouts/slideLayout6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7" name="2 CuadroTexto"/>
          <p:cNvSpPr txBox="1">
            <a:spLocks noChangeArrowheads="1"/>
          </p:cNvSpPr>
          <p:nvPr/>
        </p:nvSpPr>
        <p:spPr bwMode="auto">
          <a:xfrm>
            <a:off x="5988050" y="3060008"/>
            <a:ext cx="5364163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/>
            <a:r>
              <a:rPr lang="pt-BR" altLang="es-ES" sz="4000" dirty="0" smtClean="0">
                <a:solidFill>
                  <a:srgbClr val="006476"/>
                </a:solidFill>
                <a:latin typeface="Calibri" panose="020F0502020204030204" pitchFamily="34" charset="0"/>
              </a:rPr>
              <a:t>War </a:t>
            </a:r>
            <a:r>
              <a:rPr lang="pt-BR" altLang="es-ES" sz="4000" dirty="0" err="1" smtClean="0">
                <a:solidFill>
                  <a:srgbClr val="006476"/>
                </a:solidFill>
                <a:latin typeface="Calibri" panose="020F0502020204030204" pitchFamily="34" charset="0"/>
              </a:rPr>
              <a:t>Room</a:t>
            </a:r>
            <a:r>
              <a:rPr lang="pt-BR" altLang="es-ES" sz="4000" dirty="0" smtClean="0">
                <a:solidFill>
                  <a:srgbClr val="006476"/>
                </a:solidFill>
                <a:latin typeface="Calibri" panose="020F0502020204030204" pitchFamily="34" charset="0"/>
              </a:rPr>
              <a:t> Contábil</a:t>
            </a:r>
          </a:p>
          <a:p>
            <a:pPr algn="r" eaLnBrk="1" hangingPunct="1"/>
            <a:endParaRPr lang="pt-BR" altLang="es-ES" sz="4000" dirty="0">
              <a:solidFill>
                <a:srgbClr val="006476"/>
              </a:solidFill>
              <a:latin typeface="Calibri" panose="020F0502020204030204" pitchFamily="34" charset="0"/>
            </a:endParaRPr>
          </a:p>
        </p:txBody>
      </p:sp>
      <p:pic>
        <p:nvPicPr>
          <p:cNvPr id="4" name="Picture 2" descr="http://www.clipartbest.com/cliparts/niE/BEb/niEBEbMXT.pn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2213" y="142732"/>
            <a:ext cx="625475" cy="625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4707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/>
        </p:nvSpPr>
        <p:spPr>
          <a:xfrm>
            <a:off x="194872" y="5306518"/>
            <a:ext cx="11842230" cy="139408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de cantos arredondados 3"/>
          <p:cNvSpPr/>
          <p:nvPr/>
        </p:nvSpPr>
        <p:spPr>
          <a:xfrm>
            <a:off x="515939" y="979492"/>
            <a:ext cx="5218622" cy="2425425"/>
          </a:xfrm>
          <a:prstGeom prst="roundRect">
            <a:avLst>
              <a:gd name="adj" fmla="val 8635"/>
            </a:avLst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Atualmente </a:t>
            </a:r>
            <a:r>
              <a:rPr lang="pt-BR" sz="16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existem parametrizações contábeis incorretas no </a:t>
            </a:r>
            <a:r>
              <a:rPr lang="pt-BR" sz="1600" dirty="0" err="1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Kenan</a:t>
            </a:r>
            <a:r>
              <a:rPr lang="pt-BR" sz="16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que refletem diretamente nas cargas das interfaces contábeis no SAP.</a:t>
            </a:r>
          </a:p>
        </p:txBody>
      </p:sp>
      <p:sp>
        <p:nvSpPr>
          <p:cNvPr id="6" name="Retângulo 5"/>
          <p:cNvSpPr/>
          <p:nvPr/>
        </p:nvSpPr>
        <p:spPr>
          <a:xfrm>
            <a:off x="910374" y="609691"/>
            <a:ext cx="1075005" cy="5066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600" b="1" dirty="0">
                <a:solidFill>
                  <a:srgbClr val="006476"/>
                </a:solidFill>
              </a:rPr>
              <a:t>Cenário </a:t>
            </a: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431370" y="-3382"/>
            <a:ext cx="11760629" cy="648072"/>
          </a:xfrm>
        </p:spPr>
        <p:txBody>
          <a:bodyPr/>
          <a:lstStyle/>
          <a:p>
            <a:r>
              <a:rPr lang="pt-BR" sz="3200" dirty="0" smtClean="0"/>
              <a:t>War </a:t>
            </a:r>
            <a:r>
              <a:rPr lang="pt-BR" sz="3200" dirty="0" err="1" smtClean="0"/>
              <a:t>Room</a:t>
            </a:r>
            <a:r>
              <a:rPr lang="pt-BR" sz="3200" dirty="0" smtClean="0"/>
              <a:t> Contábil</a:t>
            </a:r>
            <a:endParaRPr lang="pt-BR" sz="3200" dirty="0"/>
          </a:p>
        </p:txBody>
      </p:sp>
      <p:sp>
        <p:nvSpPr>
          <p:cNvPr id="8" name="Retângulo de cantos arredondados 7"/>
          <p:cNvSpPr/>
          <p:nvPr/>
        </p:nvSpPr>
        <p:spPr>
          <a:xfrm>
            <a:off x="6213566" y="828624"/>
            <a:ext cx="5490081" cy="3847833"/>
          </a:xfrm>
          <a:prstGeom prst="roundRect">
            <a:avLst>
              <a:gd name="adj" fmla="val 4258"/>
            </a:avLst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pt-BR" sz="1300" b="1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3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27/10 </a:t>
            </a:r>
            <a:r>
              <a:rPr lang="pt-BR" sz="1300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– Implantação da automatização de leitura da tabela verdade e inserção na base do War </a:t>
            </a:r>
            <a:r>
              <a:rPr lang="pt-BR" sz="1300" dirty="0" err="1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Room</a:t>
            </a:r>
            <a:r>
              <a:rPr lang="pt-BR" sz="13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1300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no ambiente de desenvolvimento DGFIN.</a:t>
            </a:r>
            <a:endParaRPr lang="pt-BR" sz="1300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3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3</a:t>
            </a:r>
            <a:r>
              <a:rPr lang="pt-BR" sz="13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/11 </a:t>
            </a:r>
            <a:r>
              <a:rPr lang="pt-BR" sz="13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– </a:t>
            </a:r>
            <a:r>
              <a:rPr lang="pt-BR" sz="1300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Implantação do batimento de contas contábeis faturadas e a faturar de produto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300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300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**Atenção na Execução do monitoramento para o último ciclo do mês P2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300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**Validar memória utilizada </a:t>
            </a:r>
            <a:r>
              <a:rPr lang="pt-BR" sz="130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no processo</a:t>
            </a:r>
            <a:endParaRPr lang="pt-BR" sz="1300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6611285" y="629829"/>
            <a:ext cx="3091028" cy="4335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600" b="1" dirty="0">
                <a:solidFill>
                  <a:srgbClr val="006476"/>
                </a:solidFill>
              </a:rPr>
              <a:t>Resultados/Plano de Ação</a:t>
            </a:r>
          </a:p>
        </p:txBody>
      </p:sp>
      <p:sp>
        <p:nvSpPr>
          <p:cNvPr id="5" name="Retângulo de cantos arredondados 4"/>
          <p:cNvSpPr/>
          <p:nvPr/>
        </p:nvSpPr>
        <p:spPr>
          <a:xfrm>
            <a:off x="515939" y="3509848"/>
            <a:ext cx="5218623" cy="3085824"/>
          </a:xfrm>
          <a:prstGeom prst="roundRect">
            <a:avLst>
              <a:gd name="adj" fmla="val 5594"/>
            </a:avLst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Problemas </a:t>
            </a:r>
            <a:r>
              <a:rPr lang="pt-BR" sz="16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de controle contábil </a:t>
            </a:r>
            <a:r>
              <a:rPr lang="pt-BR" sz="1600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que impactam a receita da empres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Erros de contabilizações nas cargas do faturado e do a fatur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Distribuição incorreta dos valores entre contas contábei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600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910374" y="3355509"/>
            <a:ext cx="1129380" cy="3086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600" b="1" dirty="0">
                <a:solidFill>
                  <a:srgbClr val="006476"/>
                </a:solidFill>
              </a:rPr>
              <a:t>Impactos</a:t>
            </a:r>
          </a:p>
        </p:txBody>
      </p:sp>
    </p:spTree>
    <p:extLst>
      <p:ext uri="{BB962C8B-B14F-4D97-AF65-F5344CB8AC3E}">
        <p14:creationId xmlns:p14="http://schemas.microsoft.com/office/powerpoint/2010/main" val="3567638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Pl2Mdr_0.MAWYGlFV29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xO1ga0WEGYZo_7.tBB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heme/theme1.xml><?xml version="1.0" encoding="utf-8"?>
<a:theme xmlns:a="http://schemas.openxmlformats.org/drawingml/2006/main" name="INTERIORES ECO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>
          <a:headEnd type="none" w="med" len="med"/>
          <a:tailEnd type="none" w="med" len="med"/>
        </a:ln>
        <a:extLst/>
      </a:spPr>
      <a:bodyPr/>
      <a:lstStyle/>
      <a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 eaLnBrk="1" hangingPunct="1">
          <a:defRPr sz="1800" noProof="0" dirty="0" err="1" smtClean="0">
            <a:solidFill>
              <a:schemeClr val="tx2"/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929292"/>
        </a:lt2>
        <a:accent1>
          <a:srgbClr val="123E51"/>
        </a:accent1>
        <a:accent2>
          <a:srgbClr val="00C6D7"/>
        </a:accent2>
        <a:accent3>
          <a:srgbClr val="FFFFFF"/>
        </a:accent3>
        <a:accent4>
          <a:srgbClr val="0E3444"/>
        </a:accent4>
        <a:accent5>
          <a:srgbClr val="AAAFB3"/>
        </a:accent5>
        <a:accent6>
          <a:srgbClr val="00B3C3"/>
        </a:accent6>
        <a:hlink>
          <a:srgbClr val="D8EDF9"/>
        </a:hlink>
        <a:folHlink>
          <a:srgbClr val="92929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51_INTERIORES ECO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1C7D8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>
          <a:headEnd type="none" w="med" len="med"/>
          <a:tailEnd type="none" w="med" len="med"/>
        </a:ln>
        <a:extLst/>
      </a:spPr>
      <a:bodyPr/>
      <a:lstStyle/>
      <a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=""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=""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 eaLnBrk="1" hangingPunct="1">
          <a:defRPr sz="2000" noProof="0" dirty="0" err="1" smtClean="0">
            <a:solidFill>
              <a:schemeClr val="tx2"/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929292"/>
        </a:lt2>
        <a:accent1>
          <a:srgbClr val="123E51"/>
        </a:accent1>
        <a:accent2>
          <a:srgbClr val="00C6D7"/>
        </a:accent2>
        <a:accent3>
          <a:srgbClr val="FFFFFF"/>
        </a:accent3>
        <a:accent4>
          <a:srgbClr val="0E3444"/>
        </a:accent4>
        <a:accent5>
          <a:srgbClr val="AAAFB3"/>
        </a:accent5>
        <a:accent6>
          <a:srgbClr val="00B3C3"/>
        </a:accent6>
        <a:hlink>
          <a:srgbClr val="D8EDF9"/>
        </a:hlink>
        <a:folHlink>
          <a:srgbClr val="92929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_Diseño personalizado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 eaLnBrk="1" hangingPunct="1">
          <a:defRPr sz="1800" noProof="0" dirty="0" err="1" smtClean="0">
            <a:solidFill>
              <a:schemeClr val="tx2"/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6_INTERIORES ECO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>
          <a:headEnd type="none" w="med" len="med"/>
          <a:tailEnd type="none" w="med" len="med"/>
        </a:ln>
        <a:extLst/>
      </a:spPr>
      <a:bodyPr/>
      <a:lstStyle/>
      <a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 eaLnBrk="1" hangingPunct="1">
          <a:defRPr sz="1800" noProof="0" dirty="0" err="1" smtClean="0">
            <a:solidFill>
              <a:schemeClr val="tx2"/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929292"/>
        </a:lt2>
        <a:accent1>
          <a:srgbClr val="123E51"/>
        </a:accent1>
        <a:accent2>
          <a:srgbClr val="00C6D7"/>
        </a:accent2>
        <a:accent3>
          <a:srgbClr val="FFFFFF"/>
        </a:accent3>
        <a:accent4>
          <a:srgbClr val="0E3444"/>
        </a:accent4>
        <a:accent5>
          <a:srgbClr val="AAAFB3"/>
        </a:accent5>
        <a:accent6>
          <a:srgbClr val="00B3C3"/>
        </a:accent6>
        <a:hlink>
          <a:srgbClr val="D8EDF9"/>
        </a:hlink>
        <a:folHlink>
          <a:srgbClr val="92929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SEPARADORES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 eaLnBrk="1" hangingPunct="1">
          <a:defRPr sz="1800" noProof="0" dirty="0" err="1" smtClean="0">
            <a:solidFill>
              <a:schemeClr val="tx2"/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/>
</a:theme>
</file>

<file path=ppt/theme/theme1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ORTADAS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 eaLnBrk="1" hangingPunct="1">
          <a:defRPr sz="1800" noProof="0" dirty="0" err="1" smtClean="0">
            <a:solidFill>
              <a:schemeClr val="tx2"/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INTERIORES ECO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Personalizado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>
          <a:headEnd type="none" w="med" len="med"/>
          <a:tailEnd type="none" w="med" len="med"/>
        </a:ln>
        <a:extLst/>
      </a:spPr>
      <a:bodyPr/>
      <a:lstStyle/>
      <a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 eaLnBrk="1" hangingPunct="1">
          <a:defRPr sz="1800" dirty="0" err="1">
            <a:solidFill>
              <a:schemeClr val="tx2"/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929292"/>
        </a:lt2>
        <a:accent1>
          <a:srgbClr val="123E51"/>
        </a:accent1>
        <a:accent2>
          <a:srgbClr val="00C6D7"/>
        </a:accent2>
        <a:accent3>
          <a:srgbClr val="FFFFFF"/>
        </a:accent3>
        <a:accent4>
          <a:srgbClr val="0E3444"/>
        </a:accent4>
        <a:accent5>
          <a:srgbClr val="AAAFB3"/>
        </a:accent5>
        <a:accent6>
          <a:srgbClr val="00B3C3"/>
        </a:accent6>
        <a:hlink>
          <a:srgbClr val="D8EDF9"/>
        </a:hlink>
        <a:folHlink>
          <a:srgbClr val="92929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INTERIORES ECO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>
          <a:headEnd type="none" w="med" len="med"/>
          <a:tailEnd type="none" w="med" len="med"/>
        </a:ln>
        <a:extLst/>
      </a:spPr>
      <a:bodyPr/>
      <a:lstStyle/>
      <a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 eaLnBrk="1" hangingPunct="1">
          <a:defRPr sz="1800" noProof="0" dirty="0" err="1" smtClean="0">
            <a:solidFill>
              <a:schemeClr val="tx2"/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929292"/>
        </a:lt2>
        <a:accent1>
          <a:srgbClr val="123E51"/>
        </a:accent1>
        <a:accent2>
          <a:srgbClr val="00C6D7"/>
        </a:accent2>
        <a:accent3>
          <a:srgbClr val="FFFFFF"/>
        </a:accent3>
        <a:accent4>
          <a:srgbClr val="0E3444"/>
        </a:accent4>
        <a:accent5>
          <a:srgbClr val="AAAFB3"/>
        </a:accent5>
        <a:accent6>
          <a:srgbClr val="00B3C3"/>
        </a:accent6>
        <a:hlink>
          <a:srgbClr val="D8EDF9"/>
        </a:hlink>
        <a:folHlink>
          <a:srgbClr val="92929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INTERIORES ECO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>
          <a:headEnd type="none" w="med" len="med"/>
          <a:tailEnd type="none" w="med" len="med"/>
        </a:ln>
        <a:extLst/>
      </a:spPr>
      <a:bodyPr/>
      <a:lstStyle/>
      <a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 eaLnBrk="1" hangingPunct="1">
          <a:defRPr sz="1800" noProof="0" dirty="0" err="1" smtClean="0">
            <a:solidFill>
              <a:schemeClr val="tx2"/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929292"/>
        </a:lt2>
        <a:accent1>
          <a:srgbClr val="123E51"/>
        </a:accent1>
        <a:accent2>
          <a:srgbClr val="00C6D7"/>
        </a:accent2>
        <a:accent3>
          <a:srgbClr val="FFFFFF"/>
        </a:accent3>
        <a:accent4>
          <a:srgbClr val="0E3444"/>
        </a:accent4>
        <a:accent5>
          <a:srgbClr val="AAAFB3"/>
        </a:accent5>
        <a:accent6>
          <a:srgbClr val="00B3C3"/>
        </a:accent6>
        <a:hlink>
          <a:srgbClr val="D8EDF9"/>
        </a:hlink>
        <a:folHlink>
          <a:srgbClr val="92929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23_INTERIORES ECO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>
          <a:headEnd type="none" w="med" len="med"/>
          <a:tailEnd type="none" w="med" len="med"/>
        </a:ln>
        <a:extLst/>
      </a:spPr>
      <a:bodyPr/>
      <a:lstStyle/>
      <a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 eaLnBrk="1" hangingPunct="1">
          <a:defRPr sz="1800" noProof="0" dirty="0" err="1" smtClean="0">
            <a:solidFill>
              <a:schemeClr val="tx2"/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929292"/>
        </a:lt2>
        <a:accent1>
          <a:srgbClr val="123E51"/>
        </a:accent1>
        <a:accent2>
          <a:srgbClr val="00C6D7"/>
        </a:accent2>
        <a:accent3>
          <a:srgbClr val="FFFFFF"/>
        </a:accent3>
        <a:accent4>
          <a:srgbClr val="0E3444"/>
        </a:accent4>
        <a:accent5>
          <a:srgbClr val="AAAFB3"/>
        </a:accent5>
        <a:accent6>
          <a:srgbClr val="00B3C3"/>
        </a:accent6>
        <a:hlink>
          <a:srgbClr val="D8EDF9"/>
        </a:hlink>
        <a:folHlink>
          <a:srgbClr val="92929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50_INTERIORES ECO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1C7D8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>
          <a:headEnd type="none" w="med" len="med"/>
          <a:tailEnd type="none" w="med" len="med"/>
        </a:ln>
        <a:extLst/>
      </a:spPr>
      <a:bodyPr/>
      <a:lstStyle/>
      <a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=""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=""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 eaLnBrk="1" hangingPunct="1">
          <a:defRPr sz="2000" noProof="0" dirty="0" err="1" smtClean="0">
            <a:solidFill>
              <a:schemeClr val="tx2"/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929292"/>
        </a:lt2>
        <a:accent1>
          <a:srgbClr val="123E51"/>
        </a:accent1>
        <a:accent2>
          <a:srgbClr val="00C6D7"/>
        </a:accent2>
        <a:accent3>
          <a:srgbClr val="FFFFFF"/>
        </a:accent3>
        <a:accent4>
          <a:srgbClr val="0E3444"/>
        </a:accent4>
        <a:accent5>
          <a:srgbClr val="AAAFB3"/>
        </a:accent5>
        <a:accent6>
          <a:srgbClr val="00B3C3"/>
        </a:accent6>
        <a:hlink>
          <a:srgbClr val="D8EDF9"/>
        </a:hlink>
        <a:folHlink>
          <a:srgbClr val="92929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2_PORTADAS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 eaLnBrk="1" hangingPunct="1">
          <a:defRPr sz="1800" noProof="0" dirty="0" err="1" smtClean="0">
            <a:solidFill>
              <a:schemeClr val="tx2"/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5_INTERIORES ECO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>
          <a:headEnd type="none" w="med" len="med"/>
          <a:tailEnd type="none" w="med" len="med"/>
        </a:ln>
        <a:extLst/>
      </a:spPr>
      <a:bodyPr/>
      <a:lstStyle/>
      <a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 eaLnBrk="1" hangingPunct="1">
          <a:defRPr sz="1800" noProof="0" dirty="0" err="1" smtClean="0">
            <a:solidFill>
              <a:schemeClr val="tx2"/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929292"/>
        </a:lt2>
        <a:accent1>
          <a:srgbClr val="123E51"/>
        </a:accent1>
        <a:accent2>
          <a:srgbClr val="00C6D7"/>
        </a:accent2>
        <a:accent3>
          <a:srgbClr val="FFFFFF"/>
        </a:accent3>
        <a:accent4>
          <a:srgbClr val="0E3444"/>
        </a:accent4>
        <a:accent5>
          <a:srgbClr val="AAAFB3"/>
        </a:accent5>
        <a:accent6>
          <a:srgbClr val="00B3C3"/>
        </a:accent6>
        <a:hlink>
          <a:srgbClr val="D8EDF9"/>
        </a:hlink>
        <a:folHlink>
          <a:srgbClr val="92929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70A9EFD569BE2468354D425646A9602" ma:contentTypeVersion="4" ma:contentTypeDescription="Crie um novo documento." ma:contentTypeScope="" ma:versionID="352e2fb29d786fabaace47c52f2e63fb">
  <xsd:schema xmlns:xsd="http://www.w3.org/2001/XMLSchema" xmlns:xs="http://www.w3.org/2001/XMLSchema" xmlns:p="http://schemas.microsoft.com/office/2006/metadata/properties" xmlns:ns2="050aa761-6dff-4644-aefc-8f1ce8d7dbdb" xmlns:ns3="ce8f4077-5db6-4d67-87ea-47f837d9a95e" targetNamespace="http://schemas.microsoft.com/office/2006/metadata/properties" ma:root="true" ma:fieldsID="0e1e6288b67013e5900dc0d8c1bc0322" ns2:_="" ns3:_="">
    <xsd:import namespace="050aa761-6dff-4644-aefc-8f1ce8d7dbdb"/>
    <xsd:import namespace="ce8f4077-5db6-4d67-87ea-47f837d9a95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0aa761-6dff-4644-aefc-8f1ce8d7dbd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lhado com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hes de Compartilhado Com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8f4077-5db6-4d67-87ea-47f837d9a95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FC49B02-F0FB-464D-84A7-36A43D9813EA}">
  <ds:schemaRefs>
    <ds:schemaRef ds:uri="050aa761-6dff-4644-aefc-8f1ce8d7dbdb"/>
    <ds:schemaRef ds:uri="http://purl.org/dc/dcmitype/"/>
    <ds:schemaRef ds:uri="http://schemas.microsoft.com/office/2006/metadata/properties"/>
    <ds:schemaRef ds:uri="http://purl.org/dc/elements/1.1/"/>
    <ds:schemaRef ds:uri="http://purl.org/dc/terms/"/>
    <ds:schemaRef ds:uri="ce8f4077-5db6-4d67-87ea-47f837d9a95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892ABBD-77EB-43AC-B87A-559D975C3C1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6F52394-5EB2-4BEB-82C0-E422C1DECD9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50aa761-6dff-4644-aefc-8f1ce8d7dbdb"/>
    <ds:schemaRef ds:uri="ce8f4077-5db6-4d67-87ea-47f837d9a95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80</TotalTime>
  <Words>117</Words>
  <Application>Microsoft Office PowerPoint</Application>
  <PresentationFormat>Widescreen</PresentationFormat>
  <Paragraphs>15</Paragraphs>
  <Slides>2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11</vt:i4>
      </vt:variant>
      <vt:variant>
        <vt:lpstr>Tema</vt:lpstr>
      </vt:variant>
      <vt:variant>
        <vt:i4>1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</vt:i4>
      </vt:variant>
    </vt:vector>
  </HeadingPairs>
  <TitlesOfParts>
    <vt:vector size="27" baseType="lpstr">
      <vt:lpstr>ＭＳ Ｐゴシック</vt:lpstr>
      <vt:lpstr>ＭＳ Ｐゴシック</vt:lpstr>
      <vt:lpstr>Arial</vt:lpstr>
      <vt:lpstr>Calibri</vt:lpstr>
      <vt:lpstr>Calibri Light</vt:lpstr>
      <vt:lpstr>Courier New</vt:lpstr>
      <vt:lpstr>Gill Sans</vt:lpstr>
      <vt:lpstr>Segoe UI</vt:lpstr>
      <vt:lpstr>Trebuchet MS</vt:lpstr>
      <vt:lpstr>Wingdings</vt:lpstr>
      <vt:lpstr>ヒラギノ角ゴ ProN W3</vt:lpstr>
      <vt:lpstr>INTERIORES ECO</vt:lpstr>
      <vt:lpstr>PORTADAS</vt:lpstr>
      <vt:lpstr>1_INTERIORES ECO</vt:lpstr>
      <vt:lpstr>3_INTERIORES ECO</vt:lpstr>
      <vt:lpstr>4_INTERIORES ECO</vt:lpstr>
      <vt:lpstr>123_INTERIORES ECO</vt:lpstr>
      <vt:lpstr>50_INTERIORES ECO</vt:lpstr>
      <vt:lpstr>2_PORTADAS</vt:lpstr>
      <vt:lpstr>5_INTERIORES ECO</vt:lpstr>
      <vt:lpstr>51_INTERIORES ECO</vt:lpstr>
      <vt:lpstr>1_Diseño personalizado</vt:lpstr>
      <vt:lpstr>6_INTERIORES ECO</vt:lpstr>
      <vt:lpstr>SEPARADORES</vt:lpstr>
      <vt:lpstr>Slide do think-cell</vt:lpstr>
      <vt:lpstr>Apresentação do PowerPoint</vt:lpstr>
      <vt:lpstr>War Room Contábi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ego Lucca Quint Seronato</dc:creator>
  <cp:lastModifiedBy>Diego Lucca Quint Seronato</cp:lastModifiedBy>
  <cp:revision>83</cp:revision>
  <dcterms:modified xsi:type="dcterms:W3CDTF">2017-10-27T11:2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0A9EFD569BE2468354D425646A9602</vt:lpwstr>
  </property>
</Properties>
</file>